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tags/tag14.xml" ContentType="application/vnd.openxmlformats-officedocument.presentationml.tags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9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495" r:id="rId2"/>
    <p:sldId id="575" r:id="rId3"/>
    <p:sldId id="602" r:id="rId4"/>
    <p:sldId id="603" r:id="rId5"/>
    <p:sldId id="591" r:id="rId6"/>
    <p:sldId id="592" r:id="rId7"/>
    <p:sldId id="595" r:id="rId8"/>
    <p:sldId id="596" r:id="rId9"/>
    <p:sldId id="593" r:id="rId10"/>
    <p:sldId id="594" r:id="rId11"/>
    <p:sldId id="598" r:id="rId12"/>
    <p:sldId id="599" r:id="rId13"/>
    <p:sldId id="590" r:id="rId14"/>
    <p:sldId id="600" r:id="rId15"/>
    <p:sldId id="586" r:id="rId16"/>
    <p:sldId id="601" r:id="rId17"/>
    <p:sldId id="584" r:id="rId18"/>
  </p:sldIdLst>
  <p:sldSz cx="12192000" cy="6858000"/>
  <p:notesSz cx="7010400" cy="9296400"/>
  <p:custDataLst>
    <p:tags r:id="rId2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" name="Carine Pare" initials="CP" lastIdx="58" clrIdx="6">
    <p:extLst>
      <p:ext uri="{19B8F6BF-5375-455C-9EA6-DF929625EA0E}">
        <p15:presenceInfo xmlns:p15="http://schemas.microsoft.com/office/powerpoint/2012/main" userId="S-1-5-21-1097746622-914383597-1481268402-287317" providerId="AD"/>
      </p:ext>
    </p:extLst>
  </p:cmAuthor>
  <p:cmAuthor id="1" name="Microsoft Office User" initials="MOU" lastIdx="4" clrIdx="0">
    <p:extLst/>
  </p:cmAuthor>
  <p:cmAuthor id="8" name="Isabelle Dupel" initials="ID" lastIdx="34" clrIdx="7">
    <p:extLst>
      <p:ext uri="{19B8F6BF-5375-455C-9EA6-DF929625EA0E}">
        <p15:presenceInfo xmlns:p15="http://schemas.microsoft.com/office/powerpoint/2012/main" userId="S-1-5-21-1097746622-914383597-1481268402-191382" providerId="AD"/>
      </p:ext>
    </p:extLst>
  </p:cmAuthor>
  <p:cmAuthor id="2" name="Jeremy N Gooden" initials="JNG" lastIdx="1" clrIdx="1">
    <p:extLst/>
  </p:cmAuthor>
  <p:cmAuthor id="9" name="Chantal Bemeur" initials="CB" lastIdx="7" clrIdx="8">
    <p:extLst>
      <p:ext uri="{19B8F6BF-5375-455C-9EA6-DF929625EA0E}">
        <p15:presenceInfo xmlns:p15="http://schemas.microsoft.com/office/powerpoint/2012/main" userId="S-1-5-21-1097746622-914383597-1481268402-182385" providerId="AD"/>
      </p:ext>
    </p:extLst>
  </p:cmAuthor>
  <p:cmAuthor id="3" name="Microsoft Office User" initials="Office [5]" lastIdx="1" clrIdx="2"/>
  <p:cmAuthor id="10" name="Irma Tabakovic" initials="IT" lastIdx="1" clrIdx="9">
    <p:extLst>
      <p:ext uri="{19B8F6BF-5375-455C-9EA6-DF929625EA0E}">
        <p15:presenceInfo xmlns:p15="http://schemas.microsoft.com/office/powerpoint/2012/main" userId="S-1-5-21-1097746622-914383597-1481268402-208649" providerId="AD"/>
      </p:ext>
    </p:extLst>
  </p:cmAuthor>
  <p:cmAuthor id="4" name="Microsoft Office User" initials="Office [3]" lastIdx="1" clrIdx="3"/>
  <p:cmAuthor id="5" name="Microsoft Office User" initials="Office [4]" lastIdx="1" clrIdx="4"/>
  <p:cmAuthor id="6" name="Microsoft Office User" initials="Office" lastIdx="10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B8F4F"/>
    <a:srgbClr val="FF9999"/>
    <a:srgbClr val="E7E6E6"/>
    <a:srgbClr val="18853F"/>
    <a:srgbClr val="4CB6A0"/>
    <a:srgbClr val="6D6E71"/>
    <a:srgbClr val="D0EBE5"/>
    <a:srgbClr val="BCCAD0"/>
    <a:srgbClr val="A8CF76"/>
    <a:srgbClr val="DCDD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32" autoAdjust="0"/>
    <p:restoredTop sz="88783" autoAdjust="0"/>
  </p:normalViewPr>
  <p:slideViewPr>
    <p:cSldViewPr snapToGrid="0" snapToObjects="1">
      <p:cViewPr varScale="1">
        <p:scale>
          <a:sx n="59" d="100"/>
          <a:sy n="59" d="100"/>
        </p:scale>
        <p:origin x="1076" y="56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804"/>
    </p:cViewPr>
  </p:sorterViewPr>
  <p:notesViewPr>
    <p:cSldViewPr snapToGrid="0" snapToObjects="1">
      <p:cViewPr varScale="1">
        <p:scale>
          <a:sx n="66" d="100"/>
          <a:sy n="66" d="100"/>
        </p:scale>
        <p:origin x="3134" y="72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commentAuthors" Target="commentAuthor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6_1">
  <dgm:title val=""/>
  <dgm:desc val=""/>
  <dgm:catLst>
    <dgm:cat type="accent6" pri="11100"/>
  </dgm:catLst>
  <dgm:styleLbl name="node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4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6">
        <a:alpha val="4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6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6">
        <a:alpha val="90000"/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C60EAD3-2A65-4AA3-98C9-B110E08A655D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CA"/>
        </a:p>
      </dgm:t>
    </dgm:pt>
    <dgm:pt modelId="{952659E9-9633-425A-9330-13069CDAE6E5}">
      <dgm:prSet phldrT="[Text]" custT="1"/>
      <dgm:spPr/>
      <dgm:t>
        <a:bodyPr/>
        <a:lstStyle/>
        <a:p>
          <a:r>
            <a:rPr lang="en-US" sz="2800" b="1" dirty="0" smtClean="0">
              <a:latin typeface="+mn-lt"/>
              <a:cs typeface="Arial" panose="020B0604020202020204" pitchFamily="34" charset="0"/>
            </a:rPr>
            <a:t>Identify</a:t>
          </a:r>
          <a:endParaRPr lang="en-CA" sz="2800" b="1" dirty="0">
            <a:latin typeface="+mn-lt"/>
            <a:cs typeface="Arial" panose="020B0604020202020204" pitchFamily="34" charset="0"/>
          </a:endParaRPr>
        </a:p>
      </dgm:t>
    </dgm:pt>
    <dgm:pt modelId="{1ED47F18-6D02-4DBA-A0E1-22CDA06D2C4A}" type="parTrans" cxnId="{FDCA284E-9252-44DE-B368-2D7E01CF37B2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FD3696FF-5957-440A-BA91-381FABD02DDD}" type="sibTrans" cxnId="{FDCA284E-9252-44DE-B368-2D7E01CF37B2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F910432E-5E0A-49B5-9C9B-A8C0DC6C51BE}">
      <dgm:prSet phldrT="[Text]" custT="1"/>
      <dgm:spPr>
        <a:ln>
          <a:solidFill>
            <a:schemeClr val="accent1">
              <a:lumMod val="20000"/>
              <a:lumOff val="80000"/>
              <a:alpha val="90000"/>
            </a:schemeClr>
          </a:solidFill>
        </a:ln>
      </dgm:spPr>
      <dgm:t>
        <a:bodyPr/>
        <a:lstStyle/>
        <a:p>
          <a:r>
            <a:rPr lang="en-US" sz="2400" dirty="0" smtClean="0">
              <a:latin typeface="+mn-lt"/>
              <a:cs typeface="Arial" panose="020B0604020202020204" pitchFamily="34" charset="0"/>
            </a:rPr>
            <a:t>the sponsor</a:t>
          </a:r>
          <a:endParaRPr lang="en-CA" sz="2400" dirty="0">
            <a:latin typeface="+mn-lt"/>
            <a:cs typeface="Arial" panose="020B0604020202020204" pitchFamily="34" charset="0"/>
          </a:endParaRPr>
        </a:p>
      </dgm:t>
    </dgm:pt>
    <dgm:pt modelId="{1A853AC0-D1AE-4D0D-9600-0AE1AD962146}" type="parTrans" cxnId="{292945F0-43FC-4B37-93E8-B09DEC96CC65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03B7E69C-27FD-44DF-9303-1D95963CA8A2}" type="sibTrans" cxnId="{292945F0-43FC-4B37-93E8-B09DEC96CC65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8143A5A5-C2D4-4B41-B834-08188096BA8C}">
      <dgm:prSet phldrT="[Text]" custT="1"/>
      <dgm:spPr>
        <a:solidFill>
          <a:schemeClr val="accent2"/>
        </a:solidFill>
        <a:ln>
          <a:solidFill>
            <a:schemeClr val="accent2"/>
          </a:solidFill>
        </a:ln>
      </dgm:spPr>
      <dgm:t>
        <a:bodyPr/>
        <a:lstStyle/>
        <a:p>
          <a:r>
            <a:rPr lang="en-US" sz="2800" b="1" dirty="0" smtClean="0">
              <a:latin typeface="+mn-lt"/>
              <a:cs typeface="Arial" panose="020B0604020202020204" pitchFamily="34" charset="0"/>
            </a:rPr>
            <a:t>Determine</a:t>
          </a:r>
          <a:endParaRPr lang="en-CA" sz="2800" b="1" dirty="0">
            <a:latin typeface="+mn-lt"/>
            <a:cs typeface="Arial" panose="020B0604020202020204" pitchFamily="34" charset="0"/>
          </a:endParaRPr>
        </a:p>
      </dgm:t>
    </dgm:pt>
    <dgm:pt modelId="{19103F78-4CCB-4671-AE7C-4441B9882313}" type="parTrans" cxnId="{87A74308-9806-428C-B258-4836745EE61E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3C8ECC9D-F944-4923-BAF6-343EC960DD14}" type="sibTrans" cxnId="{87A74308-9806-428C-B258-4836745EE61E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6CDAB38D-3125-4CF4-B141-390D456FB25E}">
      <dgm:prSet phldrT="[Text]" custT="1"/>
      <dgm:spPr>
        <a:solidFill>
          <a:schemeClr val="accent2">
            <a:lumMod val="20000"/>
            <a:lumOff val="80000"/>
            <a:alpha val="90000"/>
          </a:schemeClr>
        </a:solidFill>
        <a:ln>
          <a:solidFill>
            <a:schemeClr val="accent2">
              <a:lumMod val="20000"/>
              <a:lumOff val="80000"/>
              <a:alpha val="90000"/>
            </a:schemeClr>
          </a:solidFill>
        </a:ln>
      </dgm:spPr>
      <dgm:t>
        <a:bodyPr/>
        <a:lstStyle/>
        <a:p>
          <a:r>
            <a:rPr lang="en-US" sz="2400" dirty="0" smtClean="0">
              <a:latin typeface="+mn-lt"/>
              <a:cs typeface="Arial" panose="020B0604020202020204" pitchFamily="34" charset="0"/>
            </a:rPr>
            <a:t>the position of the sponsor and champions relative to the change</a:t>
          </a:r>
          <a:endParaRPr lang="en-CA" sz="2400" dirty="0">
            <a:latin typeface="+mn-lt"/>
            <a:cs typeface="Arial" panose="020B0604020202020204" pitchFamily="34" charset="0"/>
          </a:endParaRPr>
        </a:p>
      </dgm:t>
    </dgm:pt>
    <dgm:pt modelId="{E8B0C0B2-38F3-4A13-9634-9DE9DE15144E}" type="parTrans" cxnId="{CCC9AC20-675F-4AF6-88A0-E241A20145D5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3A6F5A61-6354-468F-A54F-B1E463BACB99}" type="sibTrans" cxnId="{CCC9AC20-675F-4AF6-88A0-E241A20145D5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91B331CD-2D65-4DFE-95C3-F1897167A57D}">
      <dgm:prSet phldrT="[Text]" custT="1"/>
      <dgm:spPr>
        <a:solidFill>
          <a:srgbClr val="2B8F4F"/>
        </a:solidFill>
        <a:ln>
          <a:solidFill>
            <a:schemeClr val="accent3"/>
          </a:solidFill>
        </a:ln>
      </dgm:spPr>
      <dgm:t>
        <a:bodyPr/>
        <a:lstStyle/>
        <a:p>
          <a:r>
            <a:rPr lang="en-US" sz="2800" b="1" dirty="0" smtClean="0">
              <a:latin typeface="+mn-lt"/>
              <a:cs typeface="Arial" panose="020B0604020202020204" pitchFamily="34" charset="0"/>
            </a:rPr>
            <a:t>Assess</a:t>
          </a:r>
          <a:endParaRPr lang="en-CA" sz="2800" b="1" dirty="0">
            <a:latin typeface="+mn-lt"/>
            <a:cs typeface="Arial" panose="020B0604020202020204" pitchFamily="34" charset="0"/>
          </a:endParaRPr>
        </a:p>
      </dgm:t>
    </dgm:pt>
    <dgm:pt modelId="{A14A766A-D31D-45CE-9654-117197C597B7}" type="parTrans" cxnId="{A9C89A04-E2F7-4205-95F0-7B2363D9B99B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29790146-0327-4A12-A487-8D88AAD64410}" type="sibTrans" cxnId="{A9C89A04-E2F7-4205-95F0-7B2363D9B99B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0D757C2F-5BB9-42A0-BAB2-CEFCEE8EFE1C}">
      <dgm:prSet phldrT="[Text]" custT="1"/>
      <dgm:spPr>
        <a:solidFill>
          <a:schemeClr val="accent3">
            <a:lumMod val="20000"/>
            <a:lumOff val="80000"/>
            <a:alpha val="90000"/>
          </a:schemeClr>
        </a:solidFill>
        <a:ln>
          <a:solidFill>
            <a:schemeClr val="accent3">
              <a:lumMod val="20000"/>
              <a:lumOff val="80000"/>
              <a:alpha val="90000"/>
            </a:schemeClr>
          </a:solidFill>
        </a:ln>
      </dgm:spPr>
      <dgm:t>
        <a:bodyPr/>
        <a:lstStyle/>
        <a:p>
          <a:r>
            <a:rPr lang="en-US" sz="2400" dirty="0" smtClean="0">
              <a:latin typeface="+mn-lt"/>
              <a:cs typeface="Arial" panose="020B0604020202020204" pitchFamily="34" charset="0"/>
            </a:rPr>
            <a:t>the change management (CM) competencies of the sponsor and champions</a:t>
          </a:r>
          <a:endParaRPr lang="en-CA" sz="2400" dirty="0">
            <a:latin typeface="+mn-lt"/>
            <a:cs typeface="Arial" panose="020B0604020202020204" pitchFamily="34" charset="0"/>
          </a:endParaRPr>
        </a:p>
      </dgm:t>
    </dgm:pt>
    <dgm:pt modelId="{46DE1E9B-C0C0-466D-9770-49833332B191}" type="parTrans" cxnId="{49591E2F-BEB7-4902-8F53-5B6DF9222C5C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77489034-005D-418A-8DEA-7676B59E7903}" type="sibTrans" cxnId="{49591E2F-BEB7-4902-8F53-5B6DF9222C5C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0DF74284-A091-4841-930C-B437C62225CB}">
      <dgm:prSet phldrT="[Text]" custT="1"/>
      <dgm:spPr>
        <a:ln>
          <a:solidFill>
            <a:schemeClr val="accent1">
              <a:lumMod val="20000"/>
              <a:lumOff val="80000"/>
              <a:alpha val="90000"/>
            </a:schemeClr>
          </a:solidFill>
        </a:ln>
      </dgm:spPr>
      <dgm:t>
        <a:bodyPr/>
        <a:lstStyle/>
        <a:p>
          <a:r>
            <a:rPr lang="en-US" sz="2400" dirty="0" smtClean="0">
              <a:latin typeface="+mn-lt"/>
              <a:cs typeface="Arial" panose="020B0604020202020204" pitchFamily="34" charset="0"/>
            </a:rPr>
            <a:t>the impacted groups</a:t>
          </a:r>
          <a:endParaRPr lang="en-CA" sz="2400" dirty="0">
            <a:latin typeface="+mn-lt"/>
            <a:cs typeface="Arial" panose="020B0604020202020204" pitchFamily="34" charset="0"/>
          </a:endParaRPr>
        </a:p>
      </dgm:t>
    </dgm:pt>
    <dgm:pt modelId="{DA987A1E-4C36-4FC3-A66A-AC17DE61F256}" type="parTrans" cxnId="{857D91F2-CF59-481C-85DE-AFD4048FD262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5059D2CB-4F79-44E2-9340-C0A54F247322}" type="sibTrans" cxnId="{857D91F2-CF59-481C-85DE-AFD4048FD262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8A734D97-D762-4E21-9156-8F4C60E8C2EF}">
      <dgm:prSet phldrT="[Text]" custT="1"/>
      <dgm:spPr>
        <a:ln>
          <a:solidFill>
            <a:schemeClr val="accent1">
              <a:lumMod val="20000"/>
              <a:lumOff val="80000"/>
              <a:alpha val="90000"/>
            </a:schemeClr>
          </a:solidFill>
        </a:ln>
      </dgm:spPr>
      <dgm:t>
        <a:bodyPr/>
        <a:lstStyle/>
        <a:p>
          <a:r>
            <a:rPr lang="en-US" sz="2400" dirty="0" smtClean="0">
              <a:latin typeface="+mn-lt"/>
              <a:cs typeface="Arial" panose="020B0604020202020204" pitchFamily="34" charset="0"/>
            </a:rPr>
            <a:t>the champions</a:t>
          </a:r>
          <a:endParaRPr lang="en-CA" sz="2400" dirty="0">
            <a:latin typeface="+mn-lt"/>
            <a:cs typeface="Arial" panose="020B0604020202020204" pitchFamily="34" charset="0"/>
          </a:endParaRPr>
        </a:p>
      </dgm:t>
    </dgm:pt>
    <dgm:pt modelId="{57D85248-136E-4A31-A205-7B58188EC004}" type="parTrans" cxnId="{45E4DC97-E0C0-4DF3-86CF-AAFE7BCC9EA1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ECF2DAD8-8E67-4F3C-9278-560612F29A21}" type="sibTrans" cxnId="{45E4DC97-E0C0-4DF3-86CF-AAFE7BCC9EA1}">
      <dgm:prSet/>
      <dgm:spPr/>
      <dgm:t>
        <a:bodyPr/>
        <a:lstStyle/>
        <a:p>
          <a:endParaRPr lang="en-CA">
            <a:latin typeface="+mn-lt"/>
          </a:endParaRPr>
        </a:p>
      </dgm:t>
    </dgm:pt>
    <dgm:pt modelId="{C4376937-A90B-4FF0-974A-67B225211861}">
      <dgm:prSet phldrT="[Text]" custT="1"/>
      <dgm:spPr>
        <a:solidFill>
          <a:schemeClr val="accent4">
            <a:alpha val="90000"/>
          </a:schemeClr>
        </a:solidFill>
        <a:ln>
          <a:solidFill>
            <a:schemeClr val="accent3">
              <a:lumMod val="20000"/>
              <a:lumOff val="80000"/>
              <a:alpha val="90000"/>
            </a:schemeClr>
          </a:solidFill>
        </a:ln>
      </dgm:spPr>
      <dgm:t>
        <a:bodyPr/>
        <a:lstStyle/>
        <a:p>
          <a:r>
            <a:rPr lang="en-US" sz="2800" b="1" dirty="0" smtClean="0">
              <a:latin typeface="+mn-lt"/>
              <a:cs typeface="Arial" panose="020B0604020202020204" pitchFamily="34" charset="0"/>
            </a:rPr>
            <a:t>Analyze</a:t>
          </a:r>
          <a:endParaRPr lang="en-CA" sz="2400" b="1" dirty="0">
            <a:latin typeface="+mn-lt"/>
            <a:cs typeface="Arial" panose="020B0604020202020204" pitchFamily="34" charset="0"/>
          </a:endParaRPr>
        </a:p>
      </dgm:t>
    </dgm:pt>
    <dgm:pt modelId="{4253E4D3-75D7-4A94-8BC7-1D01597F4E52}" type="parTrans" cxnId="{363B840B-8390-4881-B410-4EAAEC6587DE}">
      <dgm:prSet/>
      <dgm:spPr/>
      <dgm:t>
        <a:bodyPr/>
        <a:lstStyle/>
        <a:p>
          <a:endParaRPr lang="en-CA"/>
        </a:p>
      </dgm:t>
    </dgm:pt>
    <dgm:pt modelId="{B6ED456E-D6C2-496A-9A24-F2CFC0D0A96F}" type="sibTrans" cxnId="{363B840B-8390-4881-B410-4EAAEC6587DE}">
      <dgm:prSet/>
      <dgm:spPr/>
      <dgm:t>
        <a:bodyPr/>
        <a:lstStyle/>
        <a:p>
          <a:endParaRPr lang="en-CA"/>
        </a:p>
      </dgm:t>
    </dgm:pt>
    <dgm:pt modelId="{0F806DB8-1500-495B-A1A8-CC2C6F46CA0A}">
      <dgm:prSet custT="1"/>
      <dgm:spPr>
        <a:solidFill>
          <a:schemeClr val="accent4">
            <a:lumMod val="20000"/>
            <a:lumOff val="80000"/>
            <a:alpha val="90000"/>
          </a:schemeClr>
        </a:solidFill>
      </dgm:spPr>
      <dgm:t>
        <a:bodyPr/>
        <a:lstStyle/>
        <a:p>
          <a:r>
            <a:rPr lang="en-US" sz="2400" dirty="0" smtClean="0"/>
            <a:t>the results and create the </a:t>
          </a:r>
          <a:r>
            <a:rPr lang="en-US" sz="2400" b="1" dirty="0" smtClean="0"/>
            <a:t>Sponsorship diagram</a:t>
          </a:r>
          <a:endParaRPr lang="en-CA" sz="2400" b="1" dirty="0"/>
        </a:p>
      </dgm:t>
    </dgm:pt>
    <dgm:pt modelId="{EF695B02-E4C7-402C-82C8-8BB3FA63C36C}" type="parTrans" cxnId="{3C3FE20F-41A9-4D8E-BE08-5784ECC88710}">
      <dgm:prSet/>
      <dgm:spPr/>
      <dgm:t>
        <a:bodyPr/>
        <a:lstStyle/>
        <a:p>
          <a:endParaRPr lang="en-CA"/>
        </a:p>
      </dgm:t>
    </dgm:pt>
    <dgm:pt modelId="{02911982-5B8A-4FA4-B90F-0C98FD714EA4}" type="sibTrans" cxnId="{3C3FE20F-41A9-4D8E-BE08-5784ECC88710}">
      <dgm:prSet/>
      <dgm:spPr/>
      <dgm:t>
        <a:bodyPr/>
        <a:lstStyle/>
        <a:p>
          <a:endParaRPr lang="en-CA"/>
        </a:p>
      </dgm:t>
    </dgm:pt>
    <dgm:pt modelId="{E386882E-42FE-4502-8DD6-4934EDBA6D3F}" type="pres">
      <dgm:prSet presAssocID="{BC60EAD3-2A65-4AA3-98C9-B110E08A655D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en-CA"/>
        </a:p>
      </dgm:t>
    </dgm:pt>
    <dgm:pt modelId="{0C241FC6-A092-4527-A4FE-5C49064B3730}" type="pres">
      <dgm:prSet presAssocID="{952659E9-9633-425A-9330-13069CDAE6E5}" presName="composite" presStyleCnt="0"/>
      <dgm:spPr/>
    </dgm:pt>
    <dgm:pt modelId="{DB0F9825-B4FB-462D-B714-1246F05377CF}" type="pres">
      <dgm:prSet presAssocID="{952659E9-9633-425A-9330-13069CDAE6E5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40162204-F32E-420E-8F1D-8A3216DE154F}" type="pres">
      <dgm:prSet presAssocID="{952659E9-9633-425A-9330-13069CDAE6E5}" presName="desTx" presStyleLbl="alignAccFollowNode1" presStyleIdx="0" presStyleCnt="4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5B5DF92A-EF7D-4AA0-A375-730393AB2A3A}" type="pres">
      <dgm:prSet presAssocID="{FD3696FF-5957-440A-BA91-381FABD02DDD}" presName="space" presStyleCnt="0"/>
      <dgm:spPr/>
    </dgm:pt>
    <dgm:pt modelId="{F91BAB5D-6403-4ECF-B6C8-1970290674DE}" type="pres">
      <dgm:prSet presAssocID="{8143A5A5-C2D4-4B41-B834-08188096BA8C}" presName="composite" presStyleCnt="0"/>
      <dgm:spPr/>
    </dgm:pt>
    <dgm:pt modelId="{E4AE51A8-1D4F-4554-83B1-7289E858B098}" type="pres">
      <dgm:prSet presAssocID="{8143A5A5-C2D4-4B41-B834-08188096BA8C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EFB01A62-3CF8-4B81-A5EA-49D4921D29D0}" type="pres">
      <dgm:prSet presAssocID="{8143A5A5-C2D4-4B41-B834-08188096BA8C}" presName="desTx" presStyleLbl="alignAccFollowNode1" presStyleIdx="1" presStyleCnt="4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AE75412C-27D2-4A93-9A7B-B7CD610E5502}" type="pres">
      <dgm:prSet presAssocID="{3C8ECC9D-F944-4923-BAF6-343EC960DD14}" presName="space" presStyleCnt="0"/>
      <dgm:spPr/>
    </dgm:pt>
    <dgm:pt modelId="{4C0A8866-F274-4F66-8908-D88ADBCC2965}" type="pres">
      <dgm:prSet presAssocID="{91B331CD-2D65-4DFE-95C3-F1897167A57D}" presName="composite" presStyleCnt="0"/>
      <dgm:spPr/>
    </dgm:pt>
    <dgm:pt modelId="{0217B3D7-C558-49A8-85B9-FAB9ED2BBE68}" type="pres">
      <dgm:prSet presAssocID="{91B331CD-2D65-4DFE-95C3-F1897167A57D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08CB27F7-5F55-4A9B-954F-59969C9B46F2}" type="pres">
      <dgm:prSet presAssocID="{91B331CD-2D65-4DFE-95C3-F1897167A57D}" presName="desTx" presStyleLbl="alignAccFollowNode1" presStyleIdx="2" presStyleCnt="4" custLinFactNeighborX="103" custLinFactNeighborY="176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9D37345C-9E67-4F3E-A263-C02E3CC08B40}" type="pres">
      <dgm:prSet presAssocID="{29790146-0327-4A12-A487-8D88AAD64410}" presName="space" presStyleCnt="0"/>
      <dgm:spPr/>
    </dgm:pt>
    <dgm:pt modelId="{457AD19F-CF63-4D93-80A3-C97A1B9030E8}" type="pres">
      <dgm:prSet presAssocID="{C4376937-A90B-4FF0-974A-67B225211861}" presName="composite" presStyleCnt="0"/>
      <dgm:spPr/>
    </dgm:pt>
    <dgm:pt modelId="{57516E38-E269-4D97-A7C3-28BFD99704C7}" type="pres">
      <dgm:prSet presAssocID="{C4376937-A90B-4FF0-974A-67B225211861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CA"/>
        </a:p>
      </dgm:t>
    </dgm:pt>
    <dgm:pt modelId="{F76E8547-8119-4636-86D4-44316A7F870C}" type="pres">
      <dgm:prSet presAssocID="{C4376937-A90B-4FF0-974A-67B225211861}" presName="desTx" presStyleLbl="alignAccFollowNode1" presStyleIdx="3" presStyleCnt="4">
        <dgm:presLayoutVars>
          <dgm:bulletEnabled val="1"/>
        </dgm:presLayoutVars>
      </dgm:prSet>
      <dgm:spPr/>
      <dgm:t>
        <a:bodyPr/>
        <a:lstStyle/>
        <a:p>
          <a:endParaRPr lang="en-CA"/>
        </a:p>
      </dgm:t>
    </dgm:pt>
  </dgm:ptLst>
  <dgm:cxnLst>
    <dgm:cxn modelId="{A9C89A04-E2F7-4205-95F0-7B2363D9B99B}" srcId="{BC60EAD3-2A65-4AA3-98C9-B110E08A655D}" destId="{91B331CD-2D65-4DFE-95C3-F1897167A57D}" srcOrd="2" destOrd="0" parTransId="{A14A766A-D31D-45CE-9654-117197C597B7}" sibTransId="{29790146-0327-4A12-A487-8D88AAD64410}"/>
    <dgm:cxn modelId="{CCC9AC20-675F-4AF6-88A0-E241A20145D5}" srcId="{8143A5A5-C2D4-4B41-B834-08188096BA8C}" destId="{6CDAB38D-3125-4CF4-B141-390D456FB25E}" srcOrd="0" destOrd="0" parTransId="{E8B0C0B2-38F3-4A13-9634-9DE9DE15144E}" sibTransId="{3A6F5A61-6354-468F-A54F-B1E463BACB99}"/>
    <dgm:cxn modelId="{FF4017C3-91F1-4C76-B0B0-FD876691E042}" type="presOf" srcId="{0D757C2F-5BB9-42A0-BAB2-CEFCEE8EFE1C}" destId="{08CB27F7-5F55-4A9B-954F-59969C9B46F2}" srcOrd="0" destOrd="0" presId="urn:microsoft.com/office/officeart/2005/8/layout/hList1"/>
    <dgm:cxn modelId="{BAAC3616-0B1C-40AF-8D3F-46450062B1DA}" type="presOf" srcId="{91B331CD-2D65-4DFE-95C3-F1897167A57D}" destId="{0217B3D7-C558-49A8-85B9-FAB9ED2BBE68}" srcOrd="0" destOrd="0" presId="urn:microsoft.com/office/officeart/2005/8/layout/hList1"/>
    <dgm:cxn modelId="{7388AC95-8221-4B6E-B7AE-2DBDFDB30F6E}" type="presOf" srcId="{8143A5A5-C2D4-4B41-B834-08188096BA8C}" destId="{E4AE51A8-1D4F-4554-83B1-7289E858B098}" srcOrd="0" destOrd="0" presId="urn:microsoft.com/office/officeart/2005/8/layout/hList1"/>
    <dgm:cxn modelId="{22EFBC55-DA70-4282-89B3-BF21A6218E73}" type="presOf" srcId="{0DF74284-A091-4841-930C-B437C62225CB}" destId="{40162204-F32E-420E-8F1D-8A3216DE154F}" srcOrd="0" destOrd="1" presId="urn:microsoft.com/office/officeart/2005/8/layout/hList1"/>
    <dgm:cxn modelId="{87A74308-9806-428C-B258-4836745EE61E}" srcId="{BC60EAD3-2A65-4AA3-98C9-B110E08A655D}" destId="{8143A5A5-C2D4-4B41-B834-08188096BA8C}" srcOrd="1" destOrd="0" parTransId="{19103F78-4CCB-4671-AE7C-4441B9882313}" sibTransId="{3C8ECC9D-F944-4923-BAF6-343EC960DD14}"/>
    <dgm:cxn modelId="{45E4DC97-E0C0-4DF3-86CF-AAFE7BCC9EA1}" srcId="{952659E9-9633-425A-9330-13069CDAE6E5}" destId="{8A734D97-D762-4E21-9156-8F4C60E8C2EF}" srcOrd="2" destOrd="0" parTransId="{57D85248-136E-4A31-A205-7B58188EC004}" sibTransId="{ECF2DAD8-8E67-4F3C-9278-560612F29A21}"/>
    <dgm:cxn modelId="{5B9647F5-6C46-4FD4-A6E1-CDB7A6285731}" type="presOf" srcId="{0F806DB8-1500-495B-A1A8-CC2C6F46CA0A}" destId="{F76E8547-8119-4636-86D4-44316A7F870C}" srcOrd="0" destOrd="0" presId="urn:microsoft.com/office/officeart/2005/8/layout/hList1"/>
    <dgm:cxn modelId="{CFC3C189-F285-4D93-B928-F81E98155062}" type="presOf" srcId="{C4376937-A90B-4FF0-974A-67B225211861}" destId="{57516E38-E269-4D97-A7C3-28BFD99704C7}" srcOrd="0" destOrd="0" presId="urn:microsoft.com/office/officeart/2005/8/layout/hList1"/>
    <dgm:cxn modelId="{2DD2C579-0D52-4C5C-83BD-52323F31EBE1}" type="presOf" srcId="{952659E9-9633-425A-9330-13069CDAE6E5}" destId="{DB0F9825-B4FB-462D-B714-1246F05377CF}" srcOrd="0" destOrd="0" presId="urn:microsoft.com/office/officeart/2005/8/layout/hList1"/>
    <dgm:cxn modelId="{857D91F2-CF59-481C-85DE-AFD4048FD262}" srcId="{952659E9-9633-425A-9330-13069CDAE6E5}" destId="{0DF74284-A091-4841-930C-B437C62225CB}" srcOrd="1" destOrd="0" parTransId="{DA987A1E-4C36-4FC3-A66A-AC17DE61F256}" sibTransId="{5059D2CB-4F79-44E2-9340-C0A54F247322}"/>
    <dgm:cxn modelId="{49591E2F-BEB7-4902-8F53-5B6DF9222C5C}" srcId="{91B331CD-2D65-4DFE-95C3-F1897167A57D}" destId="{0D757C2F-5BB9-42A0-BAB2-CEFCEE8EFE1C}" srcOrd="0" destOrd="0" parTransId="{46DE1E9B-C0C0-466D-9770-49833332B191}" sibTransId="{77489034-005D-418A-8DEA-7676B59E7903}"/>
    <dgm:cxn modelId="{19BF6FC9-A29D-4252-99C0-1EF0CBA0B116}" type="presOf" srcId="{6CDAB38D-3125-4CF4-B141-390D456FB25E}" destId="{EFB01A62-3CF8-4B81-A5EA-49D4921D29D0}" srcOrd="0" destOrd="0" presId="urn:microsoft.com/office/officeart/2005/8/layout/hList1"/>
    <dgm:cxn modelId="{F892A186-13F7-4CFE-9344-7B5ABA62E832}" type="presOf" srcId="{F910432E-5E0A-49B5-9C9B-A8C0DC6C51BE}" destId="{40162204-F32E-420E-8F1D-8A3216DE154F}" srcOrd="0" destOrd="0" presId="urn:microsoft.com/office/officeart/2005/8/layout/hList1"/>
    <dgm:cxn modelId="{292945F0-43FC-4B37-93E8-B09DEC96CC65}" srcId="{952659E9-9633-425A-9330-13069CDAE6E5}" destId="{F910432E-5E0A-49B5-9C9B-A8C0DC6C51BE}" srcOrd="0" destOrd="0" parTransId="{1A853AC0-D1AE-4D0D-9600-0AE1AD962146}" sibTransId="{03B7E69C-27FD-44DF-9303-1D95963CA8A2}"/>
    <dgm:cxn modelId="{A70E3847-CF38-4872-8CEE-1E2C430ECD37}" type="presOf" srcId="{8A734D97-D762-4E21-9156-8F4C60E8C2EF}" destId="{40162204-F32E-420E-8F1D-8A3216DE154F}" srcOrd="0" destOrd="2" presId="urn:microsoft.com/office/officeart/2005/8/layout/hList1"/>
    <dgm:cxn modelId="{4475D685-DBD1-4542-9C92-574D930AEA83}" type="presOf" srcId="{BC60EAD3-2A65-4AA3-98C9-B110E08A655D}" destId="{E386882E-42FE-4502-8DD6-4934EDBA6D3F}" srcOrd="0" destOrd="0" presId="urn:microsoft.com/office/officeart/2005/8/layout/hList1"/>
    <dgm:cxn modelId="{3C3FE20F-41A9-4D8E-BE08-5784ECC88710}" srcId="{C4376937-A90B-4FF0-974A-67B225211861}" destId="{0F806DB8-1500-495B-A1A8-CC2C6F46CA0A}" srcOrd="0" destOrd="0" parTransId="{EF695B02-E4C7-402C-82C8-8BB3FA63C36C}" sibTransId="{02911982-5B8A-4FA4-B90F-0C98FD714EA4}"/>
    <dgm:cxn modelId="{FDCA284E-9252-44DE-B368-2D7E01CF37B2}" srcId="{BC60EAD3-2A65-4AA3-98C9-B110E08A655D}" destId="{952659E9-9633-425A-9330-13069CDAE6E5}" srcOrd="0" destOrd="0" parTransId="{1ED47F18-6D02-4DBA-A0E1-22CDA06D2C4A}" sibTransId="{FD3696FF-5957-440A-BA91-381FABD02DDD}"/>
    <dgm:cxn modelId="{363B840B-8390-4881-B410-4EAAEC6587DE}" srcId="{BC60EAD3-2A65-4AA3-98C9-B110E08A655D}" destId="{C4376937-A90B-4FF0-974A-67B225211861}" srcOrd="3" destOrd="0" parTransId="{4253E4D3-75D7-4A94-8BC7-1D01597F4E52}" sibTransId="{B6ED456E-D6C2-496A-9A24-F2CFC0D0A96F}"/>
    <dgm:cxn modelId="{09293C32-0266-40F0-B75D-A2262B062C4A}" type="presParOf" srcId="{E386882E-42FE-4502-8DD6-4934EDBA6D3F}" destId="{0C241FC6-A092-4527-A4FE-5C49064B3730}" srcOrd="0" destOrd="0" presId="urn:microsoft.com/office/officeart/2005/8/layout/hList1"/>
    <dgm:cxn modelId="{1D23639B-9744-47DA-A85A-D143C27D72E0}" type="presParOf" srcId="{0C241FC6-A092-4527-A4FE-5C49064B3730}" destId="{DB0F9825-B4FB-462D-B714-1246F05377CF}" srcOrd="0" destOrd="0" presId="urn:microsoft.com/office/officeart/2005/8/layout/hList1"/>
    <dgm:cxn modelId="{67996D59-4ED6-497C-9E55-33C05800F4B4}" type="presParOf" srcId="{0C241FC6-A092-4527-A4FE-5C49064B3730}" destId="{40162204-F32E-420E-8F1D-8A3216DE154F}" srcOrd="1" destOrd="0" presId="urn:microsoft.com/office/officeart/2005/8/layout/hList1"/>
    <dgm:cxn modelId="{8DCD5C4C-C521-47E3-A3C3-8D93A4AC4733}" type="presParOf" srcId="{E386882E-42FE-4502-8DD6-4934EDBA6D3F}" destId="{5B5DF92A-EF7D-4AA0-A375-730393AB2A3A}" srcOrd="1" destOrd="0" presId="urn:microsoft.com/office/officeart/2005/8/layout/hList1"/>
    <dgm:cxn modelId="{4E954CC3-24DE-43AA-A8BD-150A8D87A20C}" type="presParOf" srcId="{E386882E-42FE-4502-8DD6-4934EDBA6D3F}" destId="{F91BAB5D-6403-4ECF-B6C8-1970290674DE}" srcOrd="2" destOrd="0" presId="urn:microsoft.com/office/officeart/2005/8/layout/hList1"/>
    <dgm:cxn modelId="{388681F7-ED3B-4292-AE3C-CD625D6C0B38}" type="presParOf" srcId="{F91BAB5D-6403-4ECF-B6C8-1970290674DE}" destId="{E4AE51A8-1D4F-4554-83B1-7289E858B098}" srcOrd="0" destOrd="0" presId="urn:microsoft.com/office/officeart/2005/8/layout/hList1"/>
    <dgm:cxn modelId="{5E2BB06F-2B76-4184-A3BA-E585436B0190}" type="presParOf" srcId="{F91BAB5D-6403-4ECF-B6C8-1970290674DE}" destId="{EFB01A62-3CF8-4B81-A5EA-49D4921D29D0}" srcOrd="1" destOrd="0" presId="urn:microsoft.com/office/officeart/2005/8/layout/hList1"/>
    <dgm:cxn modelId="{DD6C254E-B67C-479C-B478-FB760E81B4B8}" type="presParOf" srcId="{E386882E-42FE-4502-8DD6-4934EDBA6D3F}" destId="{AE75412C-27D2-4A93-9A7B-B7CD610E5502}" srcOrd="3" destOrd="0" presId="urn:microsoft.com/office/officeart/2005/8/layout/hList1"/>
    <dgm:cxn modelId="{09815627-825F-458D-894F-D3334B2522FE}" type="presParOf" srcId="{E386882E-42FE-4502-8DD6-4934EDBA6D3F}" destId="{4C0A8866-F274-4F66-8908-D88ADBCC2965}" srcOrd="4" destOrd="0" presId="urn:microsoft.com/office/officeart/2005/8/layout/hList1"/>
    <dgm:cxn modelId="{48CB81A3-0A9B-4B17-9604-4A1B33937CB3}" type="presParOf" srcId="{4C0A8866-F274-4F66-8908-D88ADBCC2965}" destId="{0217B3D7-C558-49A8-85B9-FAB9ED2BBE68}" srcOrd="0" destOrd="0" presId="urn:microsoft.com/office/officeart/2005/8/layout/hList1"/>
    <dgm:cxn modelId="{91501994-48B7-46D2-9239-04CC09CEB050}" type="presParOf" srcId="{4C0A8866-F274-4F66-8908-D88ADBCC2965}" destId="{08CB27F7-5F55-4A9B-954F-59969C9B46F2}" srcOrd="1" destOrd="0" presId="urn:microsoft.com/office/officeart/2005/8/layout/hList1"/>
    <dgm:cxn modelId="{A14D46E6-BD9C-4549-8BF1-4382732CA6D7}" type="presParOf" srcId="{E386882E-42FE-4502-8DD6-4934EDBA6D3F}" destId="{9D37345C-9E67-4F3E-A263-C02E3CC08B40}" srcOrd="5" destOrd="0" presId="urn:microsoft.com/office/officeart/2005/8/layout/hList1"/>
    <dgm:cxn modelId="{5C6C5093-6B92-4876-AB51-203EE0CA46BE}" type="presParOf" srcId="{E386882E-42FE-4502-8DD6-4934EDBA6D3F}" destId="{457AD19F-CF63-4D93-80A3-C97A1B9030E8}" srcOrd="6" destOrd="0" presId="urn:microsoft.com/office/officeart/2005/8/layout/hList1"/>
    <dgm:cxn modelId="{A36EA38F-21D1-4EC5-8A04-DD86E69BFCC4}" type="presParOf" srcId="{457AD19F-CF63-4D93-80A3-C97A1B9030E8}" destId="{57516E38-E269-4D97-A7C3-28BFD99704C7}" srcOrd="0" destOrd="0" presId="urn:microsoft.com/office/officeart/2005/8/layout/hList1"/>
    <dgm:cxn modelId="{600294E7-8B85-4F96-8AA1-95D8F7753756}" type="presParOf" srcId="{457AD19F-CF63-4D93-80A3-C97A1B9030E8}" destId="{F76E8547-8119-4636-86D4-44316A7F870C}" srcOrd="1" destOrd="0" presId="urn:microsoft.com/office/officeart/2005/8/layout/hList1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06E90A01-CE48-4D04-B320-E1B084BDF11E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en-CA"/>
        </a:p>
      </dgm:t>
    </dgm:pt>
    <dgm:pt modelId="{8DAE7856-CE40-4577-A4DF-56A75037F86B}">
      <dgm:prSet phldrT="[Text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en-US" sz="1400" b="1" dirty="0" smtClean="0">
              <a:solidFill>
                <a:schemeClr val="tx1"/>
              </a:solidFill>
            </a:rPr>
            <a:t>Deputy Minister</a:t>
          </a:r>
          <a:endParaRPr lang="en-CA" sz="1400" b="1" dirty="0">
            <a:solidFill>
              <a:schemeClr val="tx1"/>
            </a:solidFill>
          </a:endParaRPr>
        </a:p>
      </dgm:t>
    </dgm:pt>
    <dgm:pt modelId="{4247E0CF-0C95-4465-85A5-5C81B3510364}" type="parTrans" cxnId="{203AAD49-D065-40FF-B8C8-308064BD7AC3}">
      <dgm:prSet/>
      <dgm:spPr/>
      <dgm:t>
        <a:bodyPr/>
        <a:lstStyle/>
        <a:p>
          <a:endParaRPr lang="en-CA"/>
        </a:p>
      </dgm:t>
    </dgm:pt>
    <dgm:pt modelId="{F072F452-9F1B-42D3-AD32-EE108A12BDA0}" type="sibTrans" cxnId="{203AAD49-D065-40FF-B8C8-308064BD7AC3}">
      <dgm:prSet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en-US" b="1" dirty="0" smtClean="0"/>
            <a:t>A1</a:t>
          </a:r>
          <a:endParaRPr lang="en-CA" b="1" dirty="0"/>
        </a:p>
      </dgm:t>
    </dgm:pt>
    <dgm:pt modelId="{92E3C72E-415D-49C4-9F4B-5BE3EEEDDB6E}">
      <dgm:prSet phldrT="[Text]" custT="1"/>
      <dgm:spPr>
        <a:ln w="38100">
          <a:solidFill>
            <a:schemeClr val="tx1"/>
          </a:solidFill>
        </a:ln>
      </dgm:spPr>
      <dgm:t>
        <a:bodyPr/>
        <a:lstStyle/>
        <a:p>
          <a:r>
            <a:rPr lang="en-US" sz="1400" b="1" dirty="0" smtClean="0">
              <a:solidFill>
                <a:schemeClr val="tx1"/>
              </a:solidFill>
            </a:rPr>
            <a:t>B.B. </a:t>
          </a:r>
          <a:br>
            <a:rPr lang="en-US" sz="1400" b="1" dirty="0" smtClean="0">
              <a:solidFill>
                <a:schemeClr val="tx1"/>
              </a:solidFill>
            </a:rPr>
          </a:br>
          <a:r>
            <a:rPr lang="en-US" sz="1400" b="0" dirty="0" smtClean="0">
              <a:solidFill>
                <a:schemeClr val="tx1"/>
              </a:solidFill>
            </a:rPr>
            <a:t>(sponsor)</a:t>
          </a:r>
          <a:endParaRPr lang="en-CA" sz="1400" b="0" dirty="0">
            <a:solidFill>
              <a:schemeClr val="tx1"/>
            </a:solidFill>
          </a:endParaRPr>
        </a:p>
      </dgm:t>
    </dgm:pt>
    <dgm:pt modelId="{7490CF6E-D0F8-46BC-B0C7-E7A0C2F689DC}" type="parTrans" cxnId="{CFD31322-DB80-45B9-9903-CC7EE7AF5891}">
      <dgm:prSet/>
      <dgm:spPr>
        <a:solidFill>
          <a:schemeClr val="accent6"/>
        </a:solidFill>
        <a:ln w="6350">
          <a:solidFill>
            <a:schemeClr val="accent6"/>
          </a:solidFill>
        </a:ln>
      </dgm:spPr>
      <dgm:t>
        <a:bodyPr/>
        <a:lstStyle/>
        <a:p>
          <a:endParaRPr lang="en-CA"/>
        </a:p>
      </dgm:t>
    </dgm:pt>
    <dgm:pt modelId="{9C6F0DBD-25E3-4967-A4BA-673FBB794140}" type="sibTrans" cxnId="{CFD31322-DB80-45B9-9903-CC7EE7AF5891}">
      <dgm:prSet/>
      <dgm:spPr>
        <a:solidFill>
          <a:srgbClr val="FFFF00">
            <a:alpha val="90000"/>
          </a:srgbClr>
        </a:solidFill>
      </dgm:spPr>
      <dgm:t>
        <a:bodyPr/>
        <a:lstStyle/>
        <a:p>
          <a:r>
            <a:rPr lang="en-US" b="1" dirty="0" smtClean="0"/>
            <a:t>A2</a:t>
          </a:r>
          <a:endParaRPr lang="en-CA" b="1" dirty="0"/>
        </a:p>
      </dgm:t>
    </dgm:pt>
    <dgm:pt modelId="{40BDF2B0-A165-433F-84BA-9965006AA0E5}">
      <dgm:prSet phldrT="[Text]" custT="1"/>
      <dgm:spPr/>
      <dgm:t>
        <a:bodyPr/>
        <a:lstStyle/>
        <a:p>
          <a:r>
            <a:rPr lang="en-US" sz="1400" b="1" dirty="0" smtClean="0"/>
            <a:t>K.K.</a:t>
          </a:r>
          <a:endParaRPr lang="en-CA" sz="1400" b="1" dirty="0"/>
        </a:p>
      </dgm:t>
    </dgm:pt>
    <dgm:pt modelId="{C7DCB992-2866-41EC-A4BC-C50EBBF0B114}" type="parTrans" cxnId="{AFBC1242-3DA3-44E3-BA28-D3B96248CE43}">
      <dgm:prSet/>
      <dgm:spPr>
        <a:solidFill>
          <a:schemeClr val="accent6"/>
        </a:solidFill>
        <a:ln w="6350">
          <a:solidFill>
            <a:schemeClr val="accent6"/>
          </a:solidFill>
        </a:ln>
      </dgm:spPr>
      <dgm:t>
        <a:bodyPr/>
        <a:lstStyle/>
        <a:p>
          <a:endParaRPr lang="en-CA"/>
        </a:p>
      </dgm:t>
    </dgm:pt>
    <dgm:pt modelId="{4392A1F7-09A8-4E16-8717-A4BADCAC6C16}" type="sibTrans" cxnId="{AFBC1242-3DA3-44E3-BA28-D3B96248CE43}">
      <dgm:prSet/>
      <dgm:spPr>
        <a:solidFill>
          <a:srgbClr val="FF0000">
            <a:alpha val="90000"/>
          </a:srgbClr>
        </a:solidFill>
      </dgm:spPr>
      <dgm:t>
        <a:bodyPr/>
        <a:lstStyle/>
        <a:p>
          <a:r>
            <a:rPr lang="en-US" b="1" dirty="0" smtClean="0">
              <a:solidFill>
                <a:schemeClr val="bg1"/>
              </a:solidFill>
            </a:rPr>
            <a:t>B1</a:t>
          </a:r>
          <a:endParaRPr lang="en-CA" b="1" dirty="0">
            <a:solidFill>
              <a:schemeClr val="bg1"/>
            </a:solidFill>
          </a:endParaRPr>
        </a:p>
      </dgm:t>
    </dgm:pt>
    <dgm:pt modelId="{B0CDA59F-8F33-4ED7-9FA5-3A837920F9DD}">
      <dgm:prSet phldrT="[Text]" custT="1"/>
      <dgm:spPr/>
      <dgm:t>
        <a:bodyPr/>
        <a:lstStyle/>
        <a:p>
          <a:r>
            <a:rPr lang="en-US" sz="1400" b="1" dirty="0" smtClean="0"/>
            <a:t>A.A.</a:t>
          </a:r>
          <a:endParaRPr lang="en-CA" sz="1400" b="1" dirty="0"/>
        </a:p>
      </dgm:t>
    </dgm:pt>
    <dgm:pt modelId="{8C40272F-BA6B-4645-8239-BE8AF7BDEF18}" type="parTrans" cxnId="{2C7DEBCC-61F4-4351-800F-B42D410E118A}">
      <dgm:prSet/>
      <dgm:spPr/>
      <dgm:t>
        <a:bodyPr/>
        <a:lstStyle/>
        <a:p>
          <a:endParaRPr lang="en-CA"/>
        </a:p>
      </dgm:t>
    </dgm:pt>
    <dgm:pt modelId="{A5F6D5B4-55F7-4F40-ADFE-AE4DD0852421}" type="sibTrans" cxnId="{2C7DEBCC-61F4-4351-800F-B42D410E118A}">
      <dgm:prSet/>
      <dgm:spPr>
        <a:solidFill>
          <a:srgbClr val="FFFF00">
            <a:alpha val="90000"/>
          </a:srgbClr>
        </a:solidFill>
      </dgm:spPr>
      <dgm:t>
        <a:bodyPr/>
        <a:lstStyle/>
        <a:p>
          <a:r>
            <a:rPr lang="en-US" b="1" dirty="0" smtClean="0"/>
            <a:t>A2</a:t>
          </a:r>
          <a:endParaRPr lang="en-CA" b="1" dirty="0"/>
        </a:p>
      </dgm:t>
    </dgm:pt>
    <dgm:pt modelId="{83C96001-D224-422C-8F3A-1BC200FE59EC}">
      <dgm:prSet phldrT="[Text]" custT="1"/>
      <dgm:spPr/>
      <dgm:t>
        <a:bodyPr/>
        <a:lstStyle/>
        <a:p>
          <a:r>
            <a:rPr lang="en-US" sz="1400" b="1" dirty="0" smtClean="0"/>
            <a:t>D.D.</a:t>
          </a:r>
          <a:endParaRPr lang="en-CA" sz="1400" b="1" dirty="0"/>
        </a:p>
      </dgm:t>
    </dgm:pt>
    <dgm:pt modelId="{4A410C64-3539-41E8-9B1B-4300CD6F97A1}" type="parTrans" cxnId="{D2EC9E90-2E07-48D3-9A89-724D8E82AC5D}">
      <dgm:prSet/>
      <dgm:spPr/>
      <dgm:t>
        <a:bodyPr/>
        <a:lstStyle/>
        <a:p>
          <a:endParaRPr lang="en-CA"/>
        </a:p>
      </dgm:t>
    </dgm:pt>
    <dgm:pt modelId="{93F99302-D24C-4538-A1AB-3233610CC940}" type="sibTrans" cxnId="{D2EC9E90-2E07-48D3-9A89-724D8E82AC5D}">
      <dgm:prSet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en-US" b="1" dirty="0" smtClean="0"/>
            <a:t>A1</a:t>
          </a:r>
          <a:endParaRPr lang="en-CA" b="1" dirty="0"/>
        </a:p>
      </dgm:t>
    </dgm:pt>
    <dgm:pt modelId="{DF11A13D-2D92-447F-B173-EC7E68306655}">
      <dgm:prSet phldrT="[Text]" custT="1"/>
      <dgm:spPr/>
      <dgm:t>
        <a:bodyPr/>
        <a:lstStyle/>
        <a:p>
          <a:r>
            <a:rPr lang="en-US" sz="1400" b="1" dirty="0" smtClean="0"/>
            <a:t>F.F.</a:t>
          </a:r>
          <a:endParaRPr lang="en-CA" sz="1400" b="1" dirty="0"/>
        </a:p>
      </dgm:t>
    </dgm:pt>
    <dgm:pt modelId="{951093DE-2133-4133-8686-BBB39738A92A}" type="parTrans" cxnId="{9AB847DD-1B48-48C4-BE58-02B63C37F66C}">
      <dgm:prSet/>
      <dgm:spPr/>
      <dgm:t>
        <a:bodyPr/>
        <a:lstStyle/>
        <a:p>
          <a:endParaRPr lang="en-CA"/>
        </a:p>
      </dgm:t>
    </dgm:pt>
    <dgm:pt modelId="{0B9CFC62-5734-47C8-84BA-3106C8D8BCB2}" type="sibTrans" cxnId="{9AB847DD-1B48-48C4-BE58-02B63C37F66C}">
      <dgm:prSet/>
      <dgm:spPr>
        <a:solidFill>
          <a:srgbClr val="FF0000">
            <a:alpha val="90000"/>
          </a:srgbClr>
        </a:solidFill>
      </dgm:spPr>
      <dgm:t>
        <a:bodyPr/>
        <a:lstStyle/>
        <a:p>
          <a:r>
            <a:rPr lang="en-US" b="1" dirty="0" smtClean="0">
              <a:solidFill>
                <a:schemeClr val="bg1"/>
              </a:solidFill>
            </a:rPr>
            <a:t>A3</a:t>
          </a:r>
          <a:endParaRPr lang="en-CA" b="1" dirty="0">
            <a:solidFill>
              <a:schemeClr val="bg1"/>
            </a:solidFill>
          </a:endParaRPr>
        </a:p>
      </dgm:t>
    </dgm:pt>
    <dgm:pt modelId="{F38140D9-6633-422A-A2C5-85AEB17C5BA8}">
      <dgm:prSet phldrT="[Text]" custT="1"/>
      <dgm:spPr/>
      <dgm:t>
        <a:bodyPr/>
        <a:lstStyle/>
        <a:p>
          <a:r>
            <a:rPr lang="en-US" sz="1400" b="1" dirty="0" smtClean="0"/>
            <a:t>L.L.</a:t>
          </a:r>
          <a:endParaRPr lang="en-CA" sz="1400" b="1" dirty="0"/>
        </a:p>
      </dgm:t>
    </dgm:pt>
    <dgm:pt modelId="{06124A5E-98D2-4C55-A7A2-38A67C6D9C2A}" type="parTrans" cxnId="{FC07073E-6422-41DB-AC70-87DF590DAC27}">
      <dgm:prSet/>
      <dgm:spPr/>
      <dgm:t>
        <a:bodyPr/>
        <a:lstStyle/>
        <a:p>
          <a:endParaRPr lang="en-CA"/>
        </a:p>
      </dgm:t>
    </dgm:pt>
    <dgm:pt modelId="{A8CAC3CE-5402-451E-A2AF-E984930A4D04}" type="sibTrans" cxnId="{FC07073E-6422-41DB-AC70-87DF590DAC27}">
      <dgm:prSet/>
      <dgm:spPr>
        <a:solidFill>
          <a:srgbClr val="FF0000">
            <a:alpha val="90000"/>
          </a:srgbClr>
        </a:solidFill>
      </dgm:spPr>
      <dgm:t>
        <a:bodyPr/>
        <a:lstStyle/>
        <a:p>
          <a:r>
            <a:rPr lang="en-US" b="1" dirty="0" smtClean="0">
              <a:solidFill>
                <a:schemeClr val="bg1"/>
              </a:solidFill>
            </a:rPr>
            <a:t>B3</a:t>
          </a:r>
          <a:endParaRPr lang="en-CA" b="1" dirty="0">
            <a:solidFill>
              <a:schemeClr val="bg1"/>
            </a:solidFill>
          </a:endParaRPr>
        </a:p>
      </dgm:t>
    </dgm:pt>
    <dgm:pt modelId="{3E03CD84-40EA-4FEC-9A0C-62D6F0BA8973}" type="pres">
      <dgm:prSet presAssocID="{06E90A01-CE48-4D04-B320-E1B084BDF11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CA"/>
        </a:p>
      </dgm:t>
    </dgm:pt>
    <dgm:pt modelId="{953FE53D-C701-47CD-A1EC-C2F9DE8AD05B}" type="pres">
      <dgm:prSet presAssocID="{8DAE7856-CE40-4577-A4DF-56A75037F86B}" presName="hierRoot1" presStyleCnt="0">
        <dgm:presLayoutVars>
          <dgm:hierBranch val="init"/>
        </dgm:presLayoutVars>
      </dgm:prSet>
      <dgm:spPr/>
    </dgm:pt>
    <dgm:pt modelId="{91E40753-6823-4C56-8774-90A0A0BBB72B}" type="pres">
      <dgm:prSet presAssocID="{8DAE7856-CE40-4577-A4DF-56A75037F86B}" presName="rootComposite1" presStyleCnt="0"/>
      <dgm:spPr/>
    </dgm:pt>
    <dgm:pt modelId="{6A3E322B-14B5-4F4E-8747-6386E7054783}" type="pres">
      <dgm:prSet presAssocID="{8DAE7856-CE40-4577-A4DF-56A75037F86B}" presName="rootText1" presStyleLbl="node0" presStyleIdx="0" presStyleCnt="1" custScaleX="171880" custLinFactNeighborX="12301" custLinFactNeighborY="-37494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39DB9D64-90B8-451B-AA05-518990C2BFE1}" type="pres">
      <dgm:prSet presAssocID="{8DAE7856-CE40-4577-A4DF-56A75037F86B}" presName="titleText1" presStyleLbl="fgAcc0" presStyleIdx="0" presStyleCnt="1" custLinFactY="-12481" custLinFactNeighborX="18576" custLinFactNeighborY="-100000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71A11399-2298-411D-8905-51E24081F02B}" type="pres">
      <dgm:prSet presAssocID="{8DAE7856-CE40-4577-A4DF-56A75037F86B}" presName="rootConnector1" presStyleLbl="node1" presStyleIdx="0" presStyleCnt="6"/>
      <dgm:spPr/>
      <dgm:t>
        <a:bodyPr/>
        <a:lstStyle/>
        <a:p>
          <a:endParaRPr lang="en-CA"/>
        </a:p>
      </dgm:t>
    </dgm:pt>
    <dgm:pt modelId="{0D9E455D-0C5C-4D83-B66C-82BCDE771020}" type="pres">
      <dgm:prSet presAssocID="{8DAE7856-CE40-4577-A4DF-56A75037F86B}" presName="hierChild2" presStyleCnt="0"/>
      <dgm:spPr/>
    </dgm:pt>
    <dgm:pt modelId="{863A6139-5A05-4AD3-BC34-4E0313FC5F56}" type="pres">
      <dgm:prSet presAssocID="{7490CF6E-D0F8-46BC-B0C7-E7A0C2F689DC}" presName="Name37" presStyleLbl="parChTrans1D2" presStyleIdx="0" presStyleCnt="2"/>
      <dgm:spPr/>
      <dgm:t>
        <a:bodyPr/>
        <a:lstStyle/>
        <a:p>
          <a:endParaRPr lang="en-CA"/>
        </a:p>
      </dgm:t>
    </dgm:pt>
    <dgm:pt modelId="{A59E08E4-3AE9-4AB5-98C5-CFB97CA6FEF2}" type="pres">
      <dgm:prSet presAssocID="{92E3C72E-415D-49C4-9F4B-5BE3EEEDDB6E}" presName="hierRoot2" presStyleCnt="0">
        <dgm:presLayoutVars>
          <dgm:hierBranch val="init"/>
        </dgm:presLayoutVars>
      </dgm:prSet>
      <dgm:spPr/>
    </dgm:pt>
    <dgm:pt modelId="{30F5262A-C656-479C-BF24-81E160C608A4}" type="pres">
      <dgm:prSet presAssocID="{92E3C72E-415D-49C4-9F4B-5BE3EEEDDB6E}" presName="rootComposite" presStyleCnt="0"/>
      <dgm:spPr/>
    </dgm:pt>
    <dgm:pt modelId="{95E1358A-95E2-426B-8146-C08626D6C8B2}" type="pres">
      <dgm:prSet presAssocID="{92E3C72E-415D-49C4-9F4B-5BE3EEEDDB6E}" presName="rootText" presStyleLbl="node1" presStyleIdx="0" presStyleCnt="6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E2CDEB5C-EAA0-453A-B1D3-B620A11A78B1}" type="pres">
      <dgm:prSet presAssocID="{92E3C72E-415D-49C4-9F4B-5BE3EEEDDB6E}" presName="titleText2" presStyleLbl="fgAcc1" presStyleIdx="0" presStyleCnt="6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07C88DE9-A164-47DD-8750-3030F896A100}" type="pres">
      <dgm:prSet presAssocID="{92E3C72E-415D-49C4-9F4B-5BE3EEEDDB6E}" presName="rootConnector" presStyleLbl="node2" presStyleIdx="0" presStyleCnt="0"/>
      <dgm:spPr/>
      <dgm:t>
        <a:bodyPr/>
        <a:lstStyle/>
        <a:p>
          <a:endParaRPr lang="en-CA"/>
        </a:p>
      </dgm:t>
    </dgm:pt>
    <dgm:pt modelId="{FF35E64A-6732-43F6-8971-4D75296F106D}" type="pres">
      <dgm:prSet presAssocID="{92E3C72E-415D-49C4-9F4B-5BE3EEEDDB6E}" presName="hierChild4" presStyleCnt="0"/>
      <dgm:spPr/>
    </dgm:pt>
    <dgm:pt modelId="{2962D1C9-BB2E-4C80-93DA-DD670FA80D22}" type="pres">
      <dgm:prSet presAssocID="{8C40272F-BA6B-4645-8239-BE8AF7BDEF18}" presName="Name37" presStyleLbl="parChTrans1D3" presStyleIdx="0" presStyleCnt="4"/>
      <dgm:spPr/>
      <dgm:t>
        <a:bodyPr/>
        <a:lstStyle/>
        <a:p>
          <a:endParaRPr lang="en-CA"/>
        </a:p>
      </dgm:t>
    </dgm:pt>
    <dgm:pt modelId="{0ED62AF2-0CBA-43E8-B7C4-BF8B3C5C5FE2}" type="pres">
      <dgm:prSet presAssocID="{B0CDA59F-8F33-4ED7-9FA5-3A837920F9DD}" presName="hierRoot2" presStyleCnt="0">
        <dgm:presLayoutVars>
          <dgm:hierBranch val="init"/>
        </dgm:presLayoutVars>
      </dgm:prSet>
      <dgm:spPr/>
    </dgm:pt>
    <dgm:pt modelId="{263204D0-D4EB-40AC-9225-3FD9901489B1}" type="pres">
      <dgm:prSet presAssocID="{B0CDA59F-8F33-4ED7-9FA5-3A837920F9DD}" presName="rootComposite" presStyleCnt="0"/>
      <dgm:spPr/>
    </dgm:pt>
    <dgm:pt modelId="{263A6628-793E-479A-8B7F-3AC78DEF84F5}" type="pres">
      <dgm:prSet presAssocID="{B0CDA59F-8F33-4ED7-9FA5-3A837920F9DD}" presName="rootText" presStyleLbl="node1" presStyleIdx="1" presStyleCnt="6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A15986D1-3E81-451B-8C05-A6D048F8E015}" type="pres">
      <dgm:prSet presAssocID="{B0CDA59F-8F33-4ED7-9FA5-3A837920F9DD}" presName="titleText2" presStyleLbl="fgAcc1" presStyleIdx="1" presStyleCnt="6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6F8FF348-38A6-4A91-8669-F3E1DCE5A2CE}" type="pres">
      <dgm:prSet presAssocID="{B0CDA59F-8F33-4ED7-9FA5-3A837920F9DD}" presName="rootConnector" presStyleLbl="node3" presStyleIdx="0" presStyleCnt="0"/>
      <dgm:spPr/>
      <dgm:t>
        <a:bodyPr/>
        <a:lstStyle/>
        <a:p>
          <a:endParaRPr lang="en-CA"/>
        </a:p>
      </dgm:t>
    </dgm:pt>
    <dgm:pt modelId="{48DD4082-A293-4FF5-AB95-F465F7E632DE}" type="pres">
      <dgm:prSet presAssocID="{B0CDA59F-8F33-4ED7-9FA5-3A837920F9DD}" presName="hierChild4" presStyleCnt="0"/>
      <dgm:spPr/>
    </dgm:pt>
    <dgm:pt modelId="{ECFF4280-9C23-474F-A197-4245DFECC436}" type="pres">
      <dgm:prSet presAssocID="{B0CDA59F-8F33-4ED7-9FA5-3A837920F9DD}" presName="hierChild5" presStyleCnt="0"/>
      <dgm:spPr/>
    </dgm:pt>
    <dgm:pt modelId="{58D01422-6013-407B-A443-7205E577E983}" type="pres">
      <dgm:prSet presAssocID="{4A410C64-3539-41E8-9B1B-4300CD6F97A1}" presName="Name37" presStyleLbl="parChTrans1D3" presStyleIdx="1" presStyleCnt="4"/>
      <dgm:spPr/>
      <dgm:t>
        <a:bodyPr/>
        <a:lstStyle/>
        <a:p>
          <a:endParaRPr lang="en-CA"/>
        </a:p>
      </dgm:t>
    </dgm:pt>
    <dgm:pt modelId="{359A5200-5C4D-4652-99A1-95C68116C779}" type="pres">
      <dgm:prSet presAssocID="{83C96001-D224-422C-8F3A-1BC200FE59EC}" presName="hierRoot2" presStyleCnt="0">
        <dgm:presLayoutVars>
          <dgm:hierBranch val="init"/>
        </dgm:presLayoutVars>
      </dgm:prSet>
      <dgm:spPr/>
    </dgm:pt>
    <dgm:pt modelId="{869CC8AC-0D44-4EF0-8640-7677C3C5A48D}" type="pres">
      <dgm:prSet presAssocID="{83C96001-D224-422C-8F3A-1BC200FE59EC}" presName="rootComposite" presStyleCnt="0"/>
      <dgm:spPr/>
    </dgm:pt>
    <dgm:pt modelId="{434D0D9C-A3A7-4FAD-A9F7-5BEC8968D92F}" type="pres">
      <dgm:prSet presAssocID="{83C96001-D224-422C-8F3A-1BC200FE59EC}" presName="rootText" presStyleLbl="node1" presStyleIdx="2" presStyleCnt="6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33731B87-69BA-45A9-986B-5D9F7844F2A4}" type="pres">
      <dgm:prSet presAssocID="{83C96001-D224-422C-8F3A-1BC200FE59EC}" presName="titleText2" presStyleLbl="fgAcc1" presStyleIdx="2" presStyleCnt="6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2C316266-8CEF-47C2-829B-B57F84E6D0D8}" type="pres">
      <dgm:prSet presAssocID="{83C96001-D224-422C-8F3A-1BC200FE59EC}" presName="rootConnector" presStyleLbl="node3" presStyleIdx="0" presStyleCnt="0"/>
      <dgm:spPr/>
      <dgm:t>
        <a:bodyPr/>
        <a:lstStyle/>
        <a:p>
          <a:endParaRPr lang="en-CA"/>
        </a:p>
      </dgm:t>
    </dgm:pt>
    <dgm:pt modelId="{BB55DC2B-E768-45AD-B521-2CB8DA931F26}" type="pres">
      <dgm:prSet presAssocID="{83C96001-D224-422C-8F3A-1BC200FE59EC}" presName="hierChild4" presStyleCnt="0"/>
      <dgm:spPr/>
    </dgm:pt>
    <dgm:pt modelId="{C000B44C-EDE1-40CD-A739-F496710C68E0}" type="pres">
      <dgm:prSet presAssocID="{83C96001-D224-422C-8F3A-1BC200FE59EC}" presName="hierChild5" presStyleCnt="0"/>
      <dgm:spPr/>
    </dgm:pt>
    <dgm:pt modelId="{75018EE3-2685-4AD7-B68B-28E596755956}" type="pres">
      <dgm:prSet presAssocID="{951093DE-2133-4133-8686-BBB39738A92A}" presName="Name37" presStyleLbl="parChTrans1D3" presStyleIdx="2" presStyleCnt="4"/>
      <dgm:spPr/>
      <dgm:t>
        <a:bodyPr/>
        <a:lstStyle/>
        <a:p>
          <a:endParaRPr lang="en-CA"/>
        </a:p>
      </dgm:t>
    </dgm:pt>
    <dgm:pt modelId="{2D036172-102B-4594-85EE-979CE46ADD52}" type="pres">
      <dgm:prSet presAssocID="{DF11A13D-2D92-447F-B173-EC7E68306655}" presName="hierRoot2" presStyleCnt="0">
        <dgm:presLayoutVars>
          <dgm:hierBranch val="init"/>
        </dgm:presLayoutVars>
      </dgm:prSet>
      <dgm:spPr/>
    </dgm:pt>
    <dgm:pt modelId="{EFE26D60-A20E-4FAD-8A11-7CF07D04E5AF}" type="pres">
      <dgm:prSet presAssocID="{DF11A13D-2D92-447F-B173-EC7E68306655}" presName="rootComposite" presStyleCnt="0"/>
      <dgm:spPr/>
    </dgm:pt>
    <dgm:pt modelId="{72C856BE-2D9A-4365-9004-80DBD7AB7DEF}" type="pres">
      <dgm:prSet presAssocID="{DF11A13D-2D92-447F-B173-EC7E68306655}" presName="rootText" presStyleLbl="node1" presStyleIdx="3" presStyleCnt="6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2B736DB7-CFF1-4B4B-BB39-2147C0ADC30C}" type="pres">
      <dgm:prSet presAssocID="{DF11A13D-2D92-447F-B173-EC7E68306655}" presName="titleText2" presStyleLbl="fgAcc1" presStyleIdx="3" presStyleCnt="6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ACF5ABA7-A7E9-4EC7-8106-EF1F20732836}" type="pres">
      <dgm:prSet presAssocID="{DF11A13D-2D92-447F-B173-EC7E68306655}" presName="rootConnector" presStyleLbl="node3" presStyleIdx="0" presStyleCnt="0"/>
      <dgm:spPr/>
      <dgm:t>
        <a:bodyPr/>
        <a:lstStyle/>
        <a:p>
          <a:endParaRPr lang="en-CA"/>
        </a:p>
      </dgm:t>
    </dgm:pt>
    <dgm:pt modelId="{3F034F85-07B2-4C3F-880A-C4B248F49201}" type="pres">
      <dgm:prSet presAssocID="{DF11A13D-2D92-447F-B173-EC7E68306655}" presName="hierChild4" presStyleCnt="0"/>
      <dgm:spPr/>
    </dgm:pt>
    <dgm:pt modelId="{1F23C4FB-AF89-4586-B86C-82CDC3D4C549}" type="pres">
      <dgm:prSet presAssocID="{DF11A13D-2D92-447F-B173-EC7E68306655}" presName="hierChild5" presStyleCnt="0"/>
      <dgm:spPr/>
    </dgm:pt>
    <dgm:pt modelId="{EDEF4EA3-0187-448D-948B-D6F0BC21EF41}" type="pres">
      <dgm:prSet presAssocID="{92E3C72E-415D-49C4-9F4B-5BE3EEEDDB6E}" presName="hierChild5" presStyleCnt="0"/>
      <dgm:spPr/>
    </dgm:pt>
    <dgm:pt modelId="{A088164F-BBDD-4A70-B3F2-B95E2CB6023C}" type="pres">
      <dgm:prSet presAssocID="{C7DCB992-2866-41EC-A4BC-C50EBBF0B114}" presName="Name37" presStyleLbl="parChTrans1D2" presStyleIdx="1" presStyleCnt="2"/>
      <dgm:spPr/>
      <dgm:t>
        <a:bodyPr/>
        <a:lstStyle/>
        <a:p>
          <a:endParaRPr lang="en-CA"/>
        </a:p>
      </dgm:t>
    </dgm:pt>
    <dgm:pt modelId="{14ACFC41-564A-4658-BCA0-CD6D72F1A869}" type="pres">
      <dgm:prSet presAssocID="{40BDF2B0-A165-433F-84BA-9965006AA0E5}" presName="hierRoot2" presStyleCnt="0">
        <dgm:presLayoutVars>
          <dgm:hierBranch val="init"/>
        </dgm:presLayoutVars>
      </dgm:prSet>
      <dgm:spPr/>
    </dgm:pt>
    <dgm:pt modelId="{F3BDB92E-3E7D-4264-AEB9-41F51ABE0C45}" type="pres">
      <dgm:prSet presAssocID="{40BDF2B0-A165-433F-84BA-9965006AA0E5}" presName="rootComposite" presStyleCnt="0"/>
      <dgm:spPr/>
    </dgm:pt>
    <dgm:pt modelId="{F9B7945E-6559-40C4-9C22-D082927DE84F}" type="pres">
      <dgm:prSet presAssocID="{40BDF2B0-A165-433F-84BA-9965006AA0E5}" presName="rootText" presStyleLbl="node1" presStyleIdx="4" presStyleCnt="6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02AB8A45-6B0D-40D4-BBBA-E3DFC7C85826}" type="pres">
      <dgm:prSet presAssocID="{40BDF2B0-A165-433F-84BA-9965006AA0E5}" presName="titleText2" presStyleLbl="fgAcc1" presStyleIdx="4" presStyleCnt="6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C4AAB600-7BA4-4F02-A8AD-D309D5575B23}" type="pres">
      <dgm:prSet presAssocID="{40BDF2B0-A165-433F-84BA-9965006AA0E5}" presName="rootConnector" presStyleLbl="node2" presStyleIdx="0" presStyleCnt="0"/>
      <dgm:spPr/>
      <dgm:t>
        <a:bodyPr/>
        <a:lstStyle/>
        <a:p>
          <a:endParaRPr lang="en-CA"/>
        </a:p>
      </dgm:t>
    </dgm:pt>
    <dgm:pt modelId="{AD3EB04D-52F7-4DEA-B352-5D1B2569B77A}" type="pres">
      <dgm:prSet presAssocID="{40BDF2B0-A165-433F-84BA-9965006AA0E5}" presName="hierChild4" presStyleCnt="0"/>
      <dgm:spPr/>
    </dgm:pt>
    <dgm:pt modelId="{18BE466B-60A0-445A-9265-6D88F4CC60F2}" type="pres">
      <dgm:prSet presAssocID="{06124A5E-98D2-4C55-A7A2-38A67C6D9C2A}" presName="Name37" presStyleLbl="parChTrans1D3" presStyleIdx="3" presStyleCnt="4"/>
      <dgm:spPr/>
      <dgm:t>
        <a:bodyPr/>
        <a:lstStyle/>
        <a:p>
          <a:endParaRPr lang="en-CA"/>
        </a:p>
      </dgm:t>
    </dgm:pt>
    <dgm:pt modelId="{F5395EEE-7070-44AB-8781-8403CCA43683}" type="pres">
      <dgm:prSet presAssocID="{F38140D9-6633-422A-A2C5-85AEB17C5BA8}" presName="hierRoot2" presStyleCnt="0">
        <dgm:presLayoutVars>
          <dgm:hierBranch val="init"/>
        </dgm:presLayoutVars>
      </dgm:prSet>
      <dgm:spPr/>
    </dgm:pt>
    <dgm:pt modelId="{F4E226A1-88A9-4C10-AC2A-C16148D9B93E}" type="pres">
      <dgm:prSet presAssocID="{F38140D9-6633-422A-A2C5-85AEB17C5BA8}" presName="rootComposite" presStyleCnt="0"/>
      <dgm:spPr/>
    </dgm:pt>
    <dgm:pt modelId="{C6B5BD8E-FFDF-4DCD-88F4-2E0F3204F1F6}" type="pres">
      <dgm:prSet presAssocID="{F38140D9-6633-422A-A2C5-85AEB17C5BA8}" presName="rootText" presStyleLbl="node1" presStyleIdx="5" presStyleCnt="6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7637C753-2FA1-4ACA-8529-478E1C32925B}" type="pres">
      <dgm:prSet presAssocID="{F38140D9-6633-422A-A2C5-85AEB17C5BA8}" presName="titleText2" presStyleLbl="fgAcc1" presStyleIdx="5" presStyleCnt="6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7FBC5621-0415-4E19-9469-371BA686B416}" type="pres">
      <dgm:prSet presAssocID="{F38140D9-6633-422A-A2C5-85AEB17C5BA8}" presName="rootConnector" presStyleLbl="node3" presStyleIdx="0" presStyleCnt="0"/>
      <dgm:spPr/>
      <dgm:t>
        <a:bodyPr/>
        <a:lstStyle/>
        <a:p>
          <a:endParaRPr lang="en-CA"/>
        </a:p>
      </dgm:t>
    </dgm:pt>
    <dgm:pt modelId="{02AA16E9-E2A7-4977-8C5F-01ECD747FFAA}" type="pres">
      <dgm:prSet presAssocID="{F38140D9-6633-422A-A2C5-85AEB17C5BA8}" presName="hierChild4" presStyleCnt="0"/>
      <dgm:spPr/>
    </dgm:pt>
    <dgm:pt modelId="{E487B9F6-182B-4E28-9D55-C1CCB42ACB52}" type="pres">
      <dgm:prSet presAssocID="{F38140D9-6633-422A-A2C5-85AEB17C5BA8}" presName="hierChild5" presStyleCnt="0"/>
      <dgm:spPr/>
    </dgm:pt>
    <dgm:pt modelId="{B20859A8-52E8-4E94-9D23-8B9FB0E19202}" type="pres">
      <dgm:prSet presAssocID="{40BDF2B0-A165-433F-84BA-9965006AA0E5}" presName="hierChild5" presStyleCnt="0"/>
      <dgm:spPr/>
    </dgm:pt>
    <dgm:pt modelId="{5724A575-D1E5-4E0D-83F2-68CCBEB49037}" type="pres">
      <dgm:prSet presAssocID="{8DAE7856-CE40-4577-A4DF-56A75037F86B}" presName="hierChild3" presStyleCnt="0"/>
      <dgm:spPr/>
    </dgm:pt>
  </dgm:ptLst>
  <dgm:cxnLst>
    <dgm:cxn modelId="{8AEE1379-5F6A-49CF-923B-F134FA195603}" type="presOf" srcId="{92E3C72E-415D-49C4-9F4B-5BE3EEEDDB6E}" destId="{95E1358A-95E2-426B-8146-C08626D6C8B2}" srcOrd="0" destOrd="0" presId="urn:microsoft.com/office/officeart/2008/layout/NameandTitleOrganizationalChart"/>
    <dgm:cxn modelId="{AFBC1242-3DA3-44E3-BA28-D3B96248CE43}" srcId="{8DAE7856-CE40-4577-A4DF-56A75037F86B}" destId="{40BDF2B0-A165-433F-84BA-9965006AA0E5}" srcOrd="1" destOrd="0" parTransId="{C7DCB992-2866-41EC-A4BC-C50EBBF0B114}" sibTransId="{4392A1F7-09A8-4E16-8717-A4BADCAC6C16}"/>
    <dgm:cxn modelId="{4381D016-F636-4CEE-A73C-11C94EEF8552}" type="presOf" srcId="{8C40272F-BA6B-4645-8239-BE8AF7BDEF18}" destId="{2962D1C9-BB2E-4C80-93DA-DD670FA80D22}" srcOrd="0" destOrd="0" presId="urn:microsoft.com/office/officeart/2008/layout/NameandTitleOrganizationalChart"/>
    <dgm:cxn modelId="{75C09151-CDD3-4995-9733-F4B4FF7ECA16}" type="presOf" srcId="{C7DCB992-2866-41EC-A4BC-C50EBBF0B114}" destId="{A088164F-BBDD-4A70-B3F2-B95E2CB6023C}" srcOrd="0" destOrd="0" presId="urn:microsoft.com/office/officeart/2008/layout/NameandTitleOrganizationalChart"/>
    <dgm:cxn modelId="{B0854BB2-985D-44A0-B04A-3750BF28F3B4}" type="presOf" srcId="{951093DE-2133-4133-8686-BBB39738A92A}" destId="{75018EE3-2685-4AD7-B68B-28E596755956}" srcOrd="0" destOrd="0" presId="urn:microsoft.com/office/officeart/2008/layout/NameandTitleOrganizationalChart"/>
    <dgm:cxn modelId="{B9C29086-F427-4320-8750-8E29CEB1C73E}" type="presOf" srcId="{B0CDA59F-8F33-4ED7-9FA5-3A837920F9DD}" destId="{263A6628-793E-479A-8B7F-3AC78DEF84F5}" srcOrd="0" destOrd="0" presId="urn:microsoft.com/office/officeart/2008/layout/NameandTitleOrganizationalChart"/>
    <dgm:cxn modelId="{A343F816-B4C8-4972-BA35-BE448DFF6F36}" type="presOf" srcId="{B0CDA59F-8F33-4ED7-9FA5-3A837920F9DD}" destId="{6F8FF348-38A6-4A91-8669-F3E1DCE5A2CE}" srcOrd="1" destOrd="0" presId="urn:microsoft.com/office/officeart/2008/layout/NameandTitleOrganizationalChart"/>
    <dgm:cxn modelId="{45FEC8C4-6ADB-4D4A-999F-C9A9389D67CB}" type="presOf" srcId="{7490CF6E-D0F8-46BC-B0C7-E7A0C2F689DC}" destId="{863A6139-5A05-4AD3-BC34-4E0313FC5F56}" srcOrd="0" destOrd="0" presId="urn:microsoft.com/office/officeart/2008/layout/NameandTitleOrganizationalChart"/>
    <dgm:cxn modelId="{09A560AE-40B7-406F-8F41-EB8C065DCF6D}" type="presOf" srcId="{8DAE7856-CE40-4577-A4DF-56A75037F86B}" destId="{6A3E322B-14B5-4F4E-8747-6386E7054783}" srcOrd="0" destOrd="0" presId="urn:microsoft.com/office/officeart/2008/layout/NameandTitleOrganizationalChart"/>
    <dgm:cxn modelId="{5E23C5EE-6357-4001-B479-3671572E8DEF}" type="presOf" srcId="{DF11A13D-2D92-447F-B173-EC7E68306655}" destId="{72C856BE-2D9A-4365-9004-80DBD7AB7DEF}" srcOrd="0" destOrd="0" presId="urn:microsoft.com/office/officeart/2008/layout/NameandTitleOrganizationalChart"/>
    <dgm:cxn modelId="{37573828-BCAA-48CB-90D2-25712952777B}" type="presOf" srcId="{83C96001-D224-422C-8F3A-1BC200FE59EC}" destId="{2C316266-8CEF-47C2-829B-B57F84E6D0D8}" srcOrd="1" destOrd="0" presId="urn:microsoft.com/office/officeart/2008/layout/NameandTitleOrganizationalChart"/>
    <dgm:cxn modelId="{2A4322E2-C365-4CB4-926C-3A8D5BC7884E}" type="presOf" srcId="{F38140D9-6633-422A-A2C5-85AEB17C5BA8}" destId="{7FBC5621-0415-4E19-9469-371BA686B416}" srcOrd="1" destOrd="0" presId="urn:microsoft.com/office/officeart/2008/layout/NameandTitleOrganizationalChart"/>
    <dgm:cxn modelId="{05343F86-0A72-4DFF-AE0D-014DC3E90983}" type="presOf" srcId="{06124A5E-98D2-4C55-A7A2-38A67C6D9C2A}" destId="{18BE466B-60A0-445A-9265-6D88F4CC60F2}" srcOrd="0" destOrd="0" presId="urn:microsoft.com/office/officeart/2008/layout/NameandTitleOrganizationalChart"/>
    <dgm:cxn modelId="{2915E024-78F2-4533-BD86-6C41CE1F7559}" type="presOf" srcId="{DF11A13D-2D92-447F-B173-EC7E68306655}" destId="{ACF5ABA7-A7E9-4EC7-8106-EF1F20732836}" srcOrd="1" destOrd="0" presId="urn:microsoft.com/office/officeart/2008/layout/NameandTitleOrganizationalChart"/>
    <dgm:cxn modelId="{FC07073E-6422-41DB-AC70-87DF590DAC27}" srcId="{40BDF2B0-A165-433F-84BA-9965006AA0E5}" destId="{F38140D9-6633-422A-A2C5-85AEB17C5BA8}" srcOrd="0" destOrd="0" parTransId="{06124A5E-98D2-4C55-A7A2-38A67C6D9C2A}" sibTransId="{A8CAC3CE-5402-451E-A2AF-E984930A4D04}"/>
    <dgm:cxn modelId="{77653325-7EED-4419-9FD2-E35DAD161406}" type="presOf" srcId="{06E90A01-CE48-4D04-B320-E1B084BDF11E}" destId="{3E03CD84-40EA-4FEC-9A0C-62D6F0BA8973}" srcOrd="0" destOrd="0" presId="urn:microsoft.com/office/officeart/2008/layout/NameandTitleOrganizationalChart"/>
    <dgm:cxn modelId="{972D9FD7-0180-418B-85E4-CE8D96A3593E}" type="presOf" srcId="{A8CAC3CE-5402-451E-A2AF-E984930A4D04}" destId="{7637C753-2FA1-4ACA-8529-478E1C32925B}" srcOrd="0" destOrd="0" presId="urn:microsoft.com/office/officeart/2008/layout/NameandTitleOrganizationalChart"/>
    <dgm:cxn modelId="{6D379023-9AF5-40D5-AFAC-DAAE7F61BA17}" type="presOf" srcId="{40BDF2B0-A165-433F-84BA-9965006AA0E5}" destId="{F9B7945E-6559-40C4-9C22-D082927DE84F}" srcOrd="0" destOrd="0" presId="urn:microsoft.com/office/officeart/2008/layout/NameandTitleOrganizationalChart"/>
    <dgm:cxn modelId="{D2EC9E90-2E07-48D3-9A89-724D8E82AC5D}" srcId="{92E3C72E-415D-49C4-9F4B-5BE3EEEDDB6E}" destId="{83C96001-D224-422C-8F3A-1BC200FE59EC}" srcOrd="1" destOrd="0" parTransId="{4A410C64-3539-41E8-9B1B-4300CD6F97A1}" sibTransId="{93F99302-D24C-4538-A1AB-3233610CC940}"/>
    <dgm:cxn modelId="{CCEE8547-BA81-4E29-B98B-919417EAB45D}" type="presOf" srcId="{A5F6D5B4-55F7-4F40-ADFE-AE4DD0852421}" destId="{A15986D1-3E81-451B-8C05-A6D048F8E015}" srcOrd="0" destOrd="0" presId="urn:microsoft.com/office/officeart/2008/layout/NameandTitleOrganizationalChart"/>
    <dgm:cxn modelId="{CFD31322-DB80-45B9-9903-CC7EE7AF5891}" srcId="{8DAE7856-CE40-4577-A4DF-56A75037F86B}" destId="{92E3C72E-415D-49C4-9F4B-5BE3EEEDDB6E}" srcOrd="0" destOrd="0" parTransId="{7490CF6E-D0F8-46BC-B0C7-E7A0C2F689DC}" sibTransId="{9C6F0DBD-25E3-4967-A4BA-673FBB794140}"/>
    <dgm:cxn modelId="{DD34DFC1-8E92-478D-B385-B1BA74D50300}" type="presOf" srcId="{4A410C64-3539-41E8-9B1B-4300CD6F97A1}" destId="{58D01422-6013-407B-A443-7205E577E983}" srcOrd="0" destOrd="0" presId="urn:microsoft.com/office/officeart/2008/layout/NameandTitleOrganizationalChart"/>
    <dgm:cxn modelId="{D12CBDD8-4198-4E0A-AFB9-61D84AFB2A28}" type="presOf" srcId="{93F99302-D24C-4538-A1AB-3233610CC940}" destId="{33731B87-69BA-45A9-986B-5D9F7844F2A4}" srcOrd="0" destOrd="0" presId="urn:microsoft.com/office/officeart/2008/layout/NameandTitleOrganizationalChart"/>
    <dgm:cxn modelId="{9AB847DD-1B48-48C4-BE58-02B63C37F66C}" srcId="{92E3C72E-415D-49C4-9F4B-5BE3EEEDDB6E}" destId="{DF11A13D-2D92-447F-B173-EC7E68306655}" srcOrd="2" destOrd="0" parTransId="{951093DE-2133-4133-8686-BBB39738A92A}" sibTransId="{0B9CFC62-5734-47C8-84BA-3106C8D8BCB2}"/>
    <dgm:cxn modelId="{F25D0B48-EBBB-4105-AFD7-9A946094DC38}" type="presOf" srcId="{92E3C72E-415D-49C4-9F4B-5BE3EEEDDB6E}" destId="{07C88DE9-A164-47DD-8750-3030F896A100}" srcOrd="1" destOrd="0" presId="urn:microsoft.com/office/officeart/2008/layout/NameandTitleOrganizationalChart"/>
    <dgm:cxn modelId="{BD20F65E-F954-42AF-A4A8-09EA6CDEEB6B}" type="presOf" srcId="{9C6F0DBD-25E3-4967-A4BA-673FBB794140}" destId="{E2CDEB5C-EAA0-453A-B1D3-B620A11A78B1}" srcOrd="0" destOrd="0" presId="urn:microsoft.com/office/officeart/2008/layout/NameandTitleOrganizationalChart"/>
    <dgm:cxn modelId="{6D8C6658-C836-4DD9-B923-23A35D96BAFF}" type="presOf" srcId="{0B9CFC62-5734-47C8-84BA-3106C8D8BCB2}" destId="{2B736DB7-CFF1-4B4B-BB39-2147C0ADC30C}" srcOrd="0" destOrd="0" presId="urn:microsoft.com/office/officeart/2008/layout/NameandTitleOrganizationalChart"/>
    <dgm:cxn modelId="{5D331F39-95AE-4ADA-B04A-08370A87429E}" type="presOf" srcId="{F38140D9-6633-422A-A2C5-85AEB17C5BA8}" destId="{C6B5BD8E-FFDF-4DCD-88F4-2E0F3204F1F6}" srcOrd="0" destOrd="0" presId="urn:microsoft.com/office/officeart/2008/layout/NameandTitleOrganizationalChart"/>
    <dgm:cxn modelId="{748D0181-2A46-4A57-B2A5-23BF58EE52EC}" type="presOf" srcId="{8DAE7856-CE40-4577-A4DF-56A75037F86B}" destId="{71A11399-2298-411D-8905-51E24081F02B}" srcOrd="1" destOrd="0" presId="urn:microsoft.com/office/officeart/2008/layout/NameandTitleOrganizationalChart"/>
    <dgm:cxn modelId="{F797005F-A2DF-4DBB-9BCC-429C23934E34}" type="presOf" srcId="{4392A1F7-09A8-4E16-8717-A4BADCAC6C16}" destId="{02AB8A45-6B0D-40D4-BBBA-E3DFC7C85826}" srcOrd="0" destOrd="0" presId="urn:microsoft.com/office/officeart/2008/layout/NameandTitleOrganizationalChart"/>
    <dgm:cxn modelId="{7B85E0B7-702C-4709-B94F-6D78F2D42DF4}" type="presOf" srcId="{40BDF2B0-A165-433F-84BA-9965006AA0E5}" destId="{C4AAB600-7BA4-4F02-A8AD-D309D5575B23}" srcOrd="1" destOrd="0" presId="urn:microsoft.com/office/officeart/2008/layout/NameandTitleOrganizationalChart"/>
    <dgm:cxn modelId="{C26722B3-84ED-4B19-89BC-3B911A74395F}" type="presOf" srcId="{83C96001-D224-422C-8F3A-1BC200FE59EC}" destId="{434D0D9C-A3A7-4FAD-A9F7-5BEC8968D92F}" srcOrd="0" destOrd="0" presId="urn:microsoft.com/office/officeart/2008/layout/NameandTitleOrganizationalChart"/>
    <dgm:cxn modelId="{03C3F978-7E8E-452B-852D-AA115337D7BD}" type="presOf" srcId="{F072F452-9F1B-42D3-AD32-EE108A12BDA0}" destId="{39DB9D64-90B8-451B-AA05-518990C2BFE1}" srcOrd="0" destOrd="0" presId="urn:microsoft.com/office/officeart/2008/layout/NameandTitleOrganizationalChart"/>
    <dgm:cxn modelId="{203AAD49-D065-40FF-B8C8-308064BD7AC3}" srcId="{06E90A01-CE48-4D04-B320-E1B084BDF11E}" destId="{8DAE7856-CE40-4577-A4DF-56A75037F86B}" srcOrd="0" destOrd="0" parTransId="{4247E0CF-0C95-4465-85A5-5C81B3510364}" sibTransId="{F072F452-9F1B-42D3-AD32-EE108A12BDA0}"/>
    <dgm:cxn modelId="{2C7DEBCC-61F4-4351-800F-B42D410E118A}" srcId="{92E3C72E-415D-49C4-9F4B-5BE3EEEDDB6E}" destId="{B0CDA59F-8F33-4ED7-9FA5-3A837920F9DD}" srcOrd="0" destOrd="0" parTransId="{8C40272F-BA6B-4645-8239-BE8AF7BDEF18}" sibTransId="{A5F6D5B4-55F7-4F40-ADFE-AE4DD0852421}"/>
    <dgm:cxn modelId="{D87EFB5D-6EDB-4A55-A711-53193411E56C}" type="presParOf" srcId="{3E03CD84-40EA-4FEC-9A0C-62D6F0BA8973}" destId="{953FE53D-C701-47CD-A1EC-C2F9DE8AD05B}" srcOrd="0" destOrd="0" presId="urn:microsoft.com/office/officeart/2008/layout/NameandTitleOrganizationalChart"/>
    <dgm:cxn modelId="{2DA2C0AB-50BF-47C9-9DE9-768AB7F38DD3}" type="presParOf" srcId="{953FE53D-C701-47CD-A1EC-C2F9DE8AD05B}" destId="{91E40753-6823-4C56-8774-90A0A0BBB72B}" srcOrd="0" destOrd="0" presId="urn:microsoft.com/office/officeart/2008/layout/NameandTitleOrganizationalChart"/>
    <dgm:cxn modelId="{76164E0F-9D6F-4581-A9E1-ACBB9AA59661}" type="presParOf" srcId="{91E40753-6823-4C56-8774-90A0A0BBB72B}" destId="{6A3E322B-14B5-4F4E-8747-6386E7054783}" srcOrd="0" destOrd="0" presId="urn:microsoft.com/office/officeart/2008/layout/NameandTitleOrganizationalChart"/>
    <dgm:cxn modelId="{70FAEADE-9F53-4F2E-A1BD-FA9C11F90CCC}" type="presParOf" srcId="{91E40753-6823-4C56-8774-90A0A0BBB72B}" destId="{39DB9D64-90B8-451B-AA05-518990C2BFE1}" srcOrd="1" destOrd="0" presId="urn:microsoft.com/office/officeart/2008/layout/NameandTitleOrganizationalChart"/>
    <dgm:cxn modelId="{561AC6B2-8472-4AC9-BFD3-54781D8593CA}" type="presParOf" srcId="{91E40753-6823-4C56-8774-90A0A0BBB72B}" destId="{71A11399-2298-411D-8905-51E24081F02B}" srcOrd="2" destOrd="0" presId="urn:microsoft.com/office/officeart/2008/layout/NameandTitleOrganizationalChart"/>
    <dgm:cxn modelId="{CB3EBE4D-06F7-4ECB-8505-57F24967CC57}" type="presParOf" srcId="{953FE53D-C701-47CD-A1EC-C2F9DE8AD05B}" destId="{0D9E455D-0C5C-4D83-B66C-82BCDE771020}" srcOrd="1" destOrd="0" presId="urn:microsoft.com/office/officeart/2008/layout/NameandTitleOrganizationalChart"/>
    <dgm:cxn modelId="{704CD0B0-608D-48A2-8275-1747D7DF2B9C}" type="presParOf" srcId="{0D9E455D-0C5C-4D83-B66C-82BCDE771020}" destId="{863A6139-5A05-4AD3-BC34-4E0313FC5F56}" srcOrd="0" destOrd="0" presId="urn:microsoft.com/office/officeart/2008/layout/NameandTitleOrganizationalChart"/>
    <dgm:cxn modelId="{43C66719-82EA-4643-8E7E-8FFDDE83BA2F}" type="presParOf" srcId="{0D9E455D-0C5C-4D83-B66C-82BCDE771020}" destId="{A59E08E4-3AE9-4AB5-98C5-CFB97CA6FEF2}" srcOrd="1" destOrd="0" presId="urn:microsoft.com/office/officeart/2008/layout/NameandTitleOrganizationalChart"/>
    <dgm:cxn modelId="{2E4E5E69-928D-459B-A67A-F73706731AEF}" type="presParOf" srcId="{A59E08E4-3AE9-4AB5-98C5-CFB97CA6FEF2}" destId="{30F5262A-C656-479C-BF24-81E160C608A4}" srcOrd="0" destOrd="0" presId="urn:microsoft.com/office/officeart/2008/layout/NameandTitleOrganizationalChart"/>
    <dgm:cxn modelId="{CB5E9C2E-CCD2-498A-A8C4-6956C46CD289}" type="presParOf" srcId="{30F5262A-C656-479C-BF24-81E160C608A4}" destId="{95E1358A-95E2-426B-8146-C08626D6C8B2}" srcOrd="0" destOrd="0" presId="urn:microsoft.com/office/officeart/2008/layout/NameandTitleOrganizationalChart"/>
    <dgm:cxn modelId="{77D65F11-48BE-4E7C-84FE-0EC509E78828}" type="presParOf" srcId="{30F5262A-C656-479C-BF24-81E160C608A4}" destId="{E2CDEB5C-EAA0-453A-B1D3-B620A11A78B1}" srcOrd="1" destOrd="0" presId="urn:microsoft.com/office/officeart/2008/layout/NameandTitleOrganizationalChart"/>
    <dgm:cxn modelId="{AB39ED4F-235D-43D2-9C55-D9ACD37AE1A5}" type="presParOf" srcId="{30F5262A-C656-479C-BF24-81E160C608A4}" destId="{07C88DE9-A164-47DD-8750-3030F896A100}" srcOrd="2" destOrd="0" presId="urn:microsoft.com/office/officeart/2008/layout/NameandTitleOrganizationalChart"/>
    <dgm:cxn modelId="{1F3EC540-1EB7-448C-800B-0F370CDB8CF9}" type="presParOf" srcId="{A59E08E4-3AE9-4AB5-98C5-CFB97CA6FEF2}" destId="{FF35E64A-6732-43F6-8971-4D75296F106D}" srcOrd="1" destOrd="0" presId="urn:microsoft.com/office/officeart/2008/layout/NameandTitleOrganizationalChart"/>
    <dgm:cxn modelId="{A5A0E7B7-7458-4065-8729-3211C1D7988E}" type="presParOf" srcId="{FF35E64A-6732-43F6-8971-4D75296F106D}" destId="{2962D1C9-BB2E-4C80-93DA-DD670FA80D22}" srcOrd="0" destOrd="0" presId="urn:microsoft.com/office/officeart/2008/layout/NameandTitleOrganizationalChart"/>
    <dgm:cxn modelId="{D6C8F600-E153-486F-AD84-705DD7D994BA}" type="presParOf" srcId="{FF35E64A-6732-43F6-8971-4D75296F106D}" destId="{0ED62AF2-0CBA-43E8-B7C4-BF8B3C5C5FE2}" srcOrd="1" destOrd="0" presId="urn:microsoft.com/office/officeart/2008/layout/NameandTitleOrganizationalChart"/>
    <dgm:cxn modelId="{386EBEFA-20EB-4478-8DB8-F1D56576F3B2}" type="presParOf" srcId="{0ED62AF2-0CBA-43E8-B7C4-BF8B3C5C5FE2}" destId="{263204D0-D4EB-40AC-9225-3FD9901489B1}" srcOrd="0" destOrd="0" presId="urn:microsoft.com/office/officeart/2008/layout/NameandTitleOrganizationalChart"/>
    <dgm:cxn modelId="{A0EFEE49-BFDC-4721-A01A-227514BDC39F}" type="presParOf" srcId="{263204D0-D4EB-40AC-9225-3FD9901489B1}" destId="{263A6628-793E-479A-8B7F-3AC78DEF84F5}" srcOrd="0" destOrd="0" presId="urn:microsoft.com/office/officeart/2008/layout/NameandTitleOrganizationalChart"/>
    <dgm:cxn modelId="{4EFD2D10-637F-4EF9-824D-E89AC8AA48D4}" type="presParOf" srcId="{263204D0-D4EB-40AC-9225-3FD9901489B1}" destId="{A15986D1-3E81-451B-8C05-A6D048F8E015}" srcOrd="1" destOrd="0" presId="urn:microsoft.com/office/officeart/2008/layout/NameandTitleOrganizationalChart"/>
    <dgm:cxn modelId="{480AFB19-B1D7-4A84-BBE9-626317B71485}" type="presParOf" srcId="{263204D0-D4EB-40AC-9225-3FD9901489B1}" destId="{6F8FF348-38A6-4A91-8669-F3E1DCE5A2CE}" srcOrd="2" destOrd="0" presId="urn:microsoft.com/office/officeart/2008/layout/NameandTitleOrganizationalChart"/>
    <dgm:cxn modelId="{390963F1-4D02-4D27-8441-49E6925F6AA5}" type="presParOf" srcId="{0ED62AF2-0CBA-43E8-B7C4-BF8B3C5C5FE2}" destId="{48DD4082-A293-4FF5-AB95-F465F7E632DE}" srcOrd="1" destOrd="0" presId="urn:microsoft.com/office/officeart/2008/layout/NameandTitleOrganizationalChart"/>
    <dgm:cxn modelId="{3EF425D2-4496-4EAC-8547-B7CAB5B5E80E}" type="presParOf" srcId="{0ED62AF2-0CBA-43E8-B7C4-BF8B3C5C5FE2}" destId="{ECFF4280-9C23-474F-A197-4245DFECC436}" srcOrd="2" destOrd="0" presId="urn:microsoft.com/office/officeart/2008/layout/NameandTitleOrganizationalChart"/>
    <dgm:cxn modelId="{FFC3476A-C840-4C37-AD2D-1A71DE6826A9}" type="presParOf" srcId="{FF35E64A-6732-43F6-8971-4D75296F106D}" destId="{58D01422-6013-407B-A443-7205E577E983}" srcOrd="2" destOrd="0" presId="urn:microsoft.com/office/officeart/2008/layout/NameandTitleOrganizationalChart"/>
    <dgm:cxn modelId="{D152A3EE-0ADF-4957-84E6-CC78596944C9}" type="presParOf" srcId="{FF35E64A-6732-43F6-8971-4D75296F106D}" destId="{359A5200-5C4D-4652-99A1-95C68116C779}" srcOrd="3" destOrd="0" presId="urn:microsoft.com/office/officeart/2008/layout/NameandTitleOrganizationalChart"/>
    <dgm:cxn modelId="{302CF5CB-518A-43E4-8B3C-06779AC156C3}" type="presParOf" srcId="{359A5200-5C4D-4652-99A1-95C68116C779}" destId="{869CC8AC-0D44-4EF0-8640-7677C3C5A48D}" srcOrd="0" destOrd="0" presId="urn:microsoft.com/office/officeart/2008/layout/NameandTitleOrganizationalChart"/>
    <dgm:cxn modelId="{F6124BD4-A91F-476A-BD85-F7E875CD57DC}" type="presParOf" srcId="{869CC8AC-0D44-4EF0-8640-7677C3C5A48D}" destId="{434D0D9C-A3A7-4FAD-A9F7-5BEC8968D92F}" srcOrd="0" destOrd="0" presId="urn:microsoft.com/office/officeart/2008/layout/NameandTitleOrganizationalChart"/>
    <dgm:cxn modelId="{DECCD525-681A-43A0-BBD3-EC118280CB2F}" type="presParOf" srcId="{869CC8AC-0D44-4EF0-8640-7677C3C5A48D}" destId="{33731B87-69BA-45A9-986B-5D9F7844F2A4}" srcOrd="1" destOrd="0" presId="urn:microsoft.com/office/officeart/2008/layout/NameandTitleOrganizationalChart"/>
    <dgm:cxn modelId="{55403DA0-5869-483D-9814-9CF2E905385F}" type="presParOf" srcId="{869CC8AC-0D44-4EF0-8640-7677C3C5A48D}" destId="{2C316266-8CEF-47C2-829B-B57F84E6D0D8}" srcOrd="2" destOrd="0" presId="urn:microsoft.com/office/officeart/2008/layout/NameandTitleOrganizationalChart"/>
    <dgm:cxn modelId="{E5EE20EB-21C4-4EB8-9828-D7B05EBDD7BF}" type="presParOf" srcId="{359A5200-5C4D-4652-99A1-95C68116C779}" destId="{BB55DC2B-E768-45AD-B521-2CB8DA931F26}" srcOrd="1" destOrd="0" presId="urn:microsoft.com/office/officeart/2008/layout/NameandTitleOrganizationalChart"/>
    <dgm:cxn modelId="{EB1641AC-7EB1-42EF-99C8-06FEF2AEE00C}" type="presParOf" srcId="{359A5200-5C4D-4652-99A1-95C68116C779}" destId="{C000B44C-EDE1-40CD-A739-F496710C68E0}" srcOrd="2" destOrd="0" presId="urn:microsoft.com/office/officeart/2008/layout/NameandTitleOrganizationalChart"/>
    <dgm:cxn modelId="{005DCE55-566C-41C6-AE0C-E159AB3A1E0C}" type="presParOf" srcId="{FF35E64A-6732-43F6-8971-4D75296F106D}" destId="{75018EE3-2685-4AD7-B68B-28E596755956}" srcOrd="4" destOrd="0" presId="urn:microsoft.com/office/officeart/2008/layout/NameandTitleOrganizationalChart"/>
    <dgm:cxn modelId="{A3776BAE-81E6-4F55-9F0B-B9262185EC7C}" type="presParOf" srcId="{FF35E64A-6732-43F6-8971-4D75296F106D}" destId="{2D036172-102B-4594-85EE-979CE46ADD52}" srcOrd="5" destOrd="0" presId="urn:microsoft.com/office/officeart/2008/layout/NameandTitleOrganizationalChart"/>
    <dgm:cxn modelId="{19AD31BA-C1C6-40AC-8709-4A0C86E2DF90}" type="presParOf" srcId="{2D036172-102B-4594-85EE-979CE46ADD52}" destId="{EFE26D60-A20E-4FAD-8A11-7CF07D04E5AF}" srcOrd="0" destOrd="0" presId="urn:microsoft.com/office/officeart/2008/layout/NameandTitleOrganizationalChart"/>
    <dgm:cxn modelId="{7E1FE99A-B25C-40E0-9186-E65C36B2A27A}" type="presParOf" srcId="{EFE26D60-A20E-4FAD-8A11-7CF07D04E5AF}" destId="{72C856BE-2D9A-4365-9004-80DBD7AB7DEF}" srcOrd="0" destOrd="0" presId="urn:microsoft.com/office/officeart/2008/layout/NameandTitleOrganizationalChart"/>
    <dgm:cxn modelId="{077CBB09-8DE0-46CC-B4A7-E9C751BB44FB}" type="presParOf" srcId="{EFE26D60-A20E-4FAD-8A11-7CF07D04E5AF}" destId="{2B736DB7-CFF1-4B4B-BB39-2147C0ADC30C}" srcOrd="1" destOrd="0" presId="urn:microsoft.com/office/officeart/2008/layout/NameandTitleOrganizationalChart"/>
    <dgm:cxn modelId="{A6B486A7-4B4E-452B-91D4-07F00DAEF45C}" type="presParOf" srcId="{EFE26D60-A20E-4FAD-8A11-7CF07D04E5AF}" destId="{ACF5ABA7-A7E9-4EC7-8106-EF1F20732836}" srcOrd="2" destOrd="0" presId="urn:microsoft.com/office/officeart/2008/layout/NameandTitleOrganizationalChart"/>
    <dgm:cxn modelId="{6B32A68C-FDE5-49BC-9F3C-1E0E8B5DA9A4}" type="presParOf" srcId="{2D036172-102B-4594-85EE-979CE46ADD52}" destId="{3F034F85-07B2-4C3F-880A-C4B248F49201}" srcOrd="1" destOrd="0" presId="urn:microsoft.com/office/officeart/2008/layout/NameandTitleOrganizationalChart"/>
    <dgm:cxn modelId="{79B2859C-4B75-4F62-8C99-2D58C8343775}" type="presParOf" srcId="{2D036172-102B-4594-85EE-979CE46ADD52}" destId="{1F23C4FB-AF89-4586-B86C-82CDC3D4C549}" srcOrd="2" destOrd="0" presId="urn:microsoft.com/office/officeart/2008/layout/NameandTitleOrganizationalChart"/>
    <dgm:cxn modelId="{8F86E9B5-DD1F-4CEF-B226-410B001F0253}" type="presParOf" srcId="{A59E08E4-3AE9-4AB5-98C5-CFB97CA6FEF2}" destId="{EDEF4EA3-0187-448D-948B-D6F0BC21EF41}" srcOrd="2" destOrd="0" presId="urn:microsoft.com/office/officeart/2008/layout/NameandTitleOrganizationalChart"/>
    <dgm:cxn modelId="{6CE209C3-1671-4894-B32E-932AAA038AAB}" type="presParOf" srcId="{0D9E455D-0C5C-4D83-B66C-82BCDE771020}" destId="{A088164F-BBDD-4A70-B3F2-B95E2CB6023C}" srcOrd="2" destOrd="0" presId="urn:microsoft.com/office/officeart/2008/layout/NameandTitleOrganizationalChart"/>
    <dgm:cxn modelId="{525CF53D-BD13-4693-95BD-E36975B0246E}" type="presParOf" srcId="{0D9E455D-0C5C-4D83-B66C-82BCDE771020}" destId="{14ACFC41-564A-4658-BCA0-CD6D72F1A869}" srcOrd="3" destOrd="0" presId="urn:microsoft.com/office/officeart/2008/layout/NameandTitleOrganizationalChart"/>
    <dgm:cxn modelId="{C05A3FDB-B87A-48CF-9A7F-B6160D2171DA}" type="presParOf" srcId="{14ACFC41-564A-4658-BCA0-CD6D72F1A869}" destId="{F3BDB92E-3E7D-4264-AEB9-41F51ABE0C45}" srcOrd="0" destOrd="0" presId="urn:microsoft.com/office/officeart/2008/layout/NameandTitleOrganizationalChart"/>
    <dgm:cxn modelId="{A73B9FA9-47DF-4DD6-8525-4C9B6AA765CB}" type="presParOf" srcId="{F3BDB92E-3E7D-4264-AEB9-41F51ABE0C45}" destId="{F9B7945E-6559-40C4-9C22-D082927DE84F}" srcOrd="0" destOrd="0" presId="urn:microsoft.com/office/officeart/2008/layout/NameandTitleOrganizationalChart"/>
    <dgm:cxn modelId="{6A91535F-68FB-41BE-9194-000840C55240}" type="presParOf" srcId="{F3BDB92E-3E7D-4264-AEB9-41F51ABE0C45}" destId="{02AB8A45-6B0D-40D4-BBBA-E3DFC7C85826}" srcOrd="1" destOrd="0" presId="urn:microsoft.com/office/officeart/2008/layout/NameandTitleOrganizationalChart"/>
    <dgm:cxn modelId="{D0FE02F7-0C58-4837-845E-ABEDBD48AF12}" type="presParOf" srcId="{F3BDB92E-3E7D-4264-AEB9-41F51ABE0C45}" destId="{C4AAB600-7BA4-4F02-A8AD-D309D5575B23}" srcOrd="2" destOrd="0" presId="urn:microsoft.com/office/officeart/2008/layout/NameandTitleOrganizationalChart"/>
    <dgm:cxn modelId="{B63FD4BB-F342-452F-860E-097E915626C2}" type="presParOf" srcId="{14ACFC41-564A-4658-BCA0-CD6D72F1A869}" destId="{AD3EB04D-52F7-4DEA-B352-5D1B2569B77A}" srcOrd="1" destOrd="0" presId="urn:microsoft.com/office/officeart/2008/layout/NameandTitleOrganizationalChart"/>
    <dgm:cxn modelId="{4A20A0E1-088E-47F0-9DD9-49370D2B521E}" type="presParOf" srcId="{AD3EB04D-52F7-4DEA-B352-5D1B2569B77A}" destId="{18BE466B-60A0-445A-9265-6D88F4CC60F2}" srcOrd="0" destOrd="0" presId="urn:microsoft.com/office/officeart/2008/layout/NameandTitleOrganizationalChart"/>
    <dgm:cxn modelId="{19607F64-E69C-41A1-AD1D-CD717AD17AFC}" type="presParOf" srcId="{AD3EB04D-52F7-4DEA-B352-5D1B2569B77A}" destId="{F5395EEE-7070-44AB-8781-8403CCA43683}" srcOrd="1" destOrd="0" presId="urn:microsoft.com/office/officeart/2008/layout/NameandTitleOrganizationalChart"/>
    <dgm:cxn modelId="{ABB82A3B-2795-4DEE-8974-6834C4F8EBAF}" type="presParOf" srcId="{F5395EEE-7070-44AB-8781-8403CCA43683}" destId="{F4E226A1-88A9-4C10-AC2A-C16148D9B93E}" srcOrd="0" destOrd="0" presId="urn:microsoft.com/office/officeart/2008/layout/NameandTitleOrganizationalChart"/>
    <dgm:cxn modelId="{CA25913D-A69F-4700-8BD6-A4B56F5ECEA2}" type="presParOf" srcId="{F4E226A1-88A9-4C10-AC2A-C16148D9B93E}" destId="{C6B5BD8E-FFDF-4DCD-88F4-2E0F3204F1F6}" srcOrd="0" destOrd="0" presId="urn:microsoft.com/office/officeart/2008/layout/NameandTitleOrganizationalChart"/>
    <dgm:cxn modelId="{9E9502BB-328C-4D94-A35C-BCB4CD7FB144}" type="presParOf" srcId="{F4E226A1-88A9-4C10-AC2A-C16148D9B93E}" destId="{7637C753-2FA1-4ACA-8529-478E1C32925B}" srcOrd="1" destOrd="0" presId="urn:microsoft.com/office/officeart/2008/layout/NameandTitleOrganizationalChart"/>
    <dgm:cxn modelId="{7188E8B0-587A-4A43-92C2-A58D5C3306B8}" type="presParOf" srcId="{F4E226A1-88A9-4C10-AC2A-C16148D9B93E}" destId="{7FBC5621-0415-4E19-9469-371BA686B416}" srcOrd="2" destOrd="0" presId="urn:microsoft.com/office/officeart/2008/layout/NameandTitleOrganizationalChart"/>
    <dgm:cxn modelId="{1A99235A-8E6D-4E88-9A2A-6BEE2B753265}" type="presParOf" srcId="{F5395EEE-7070-44AB-8781-8403CCA43683}" destId="{02AA16E9-E2A7-4977-8C5F-01ECD747FFAA}" srcOrd="1" destOrd="0" presId="urn:microsoft.com/office/officeart/2008/layout/NameandTitleOrganizationalChart"/>
    <dgm:cxn modelId="{F342FBC4-478F-44E4-BF2E-CCA6FF31B066}" type="presParOf" srcId="{F5395EEE-7070-44AB-8781-8403CCA43683}" destId="{E487B9F6-182B-4E28-9D55-C1CCB42ACB52}" srcOrd="2" destOrd="0" presId="urn:microsoft.com/office/officeart/2008/layout/NameandTitleOrganizationalChart"/>
    <dgm:cxn modelId="{6FCFACC9-2F42-43B2-B2AD-BCC6659BE1AB}" type="presParOf" srcId="{14ACFC41-564A-4658-BCA0-CD6D72F1A869}" destId="{B20859A8-52E8-4E94-9D23-8B9FB0E19202}" srcOrd="2" destOrd="0" presId="urn:microsoft.com/office/officeart/2008/layout/NameandTitleOrganizationalChart"/>
    <dgm:cxn modelId="{A380D0A6-62B5-4CDF-94BF-EAE24F5FC00A}" type="presParOf" srcId="{953FE53D-C701-47CD-A1EC-C2F9DE8AD05B}" destId="{5724A575-D1E5-4E0D-83F2-68CCBEB49037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06E90A01-CE48-4D04-B320-E1B084BDF11E}" type="doc">
      <dgm:prSet loTypeId="urn:microsoft.com/office/officeart/2008/layout/NameandTitleOrganizationalChart" loCatId="hierarchy" qsTypeId="urn:microsoft.com/office/officeart/2005/8/quickstyle/simple1" qsCatId="simple" csTypeId="urn:microsoft.com/office/officeart/2005/8/colors/accent6_1" csCatId="accent6" phldr="1"/>
      <dgm:spPr/>
      <dgm:t>
        <a:bodyPr/>
        <a:lstStyle/>
        <a:p>
          <a:endParaRPr lang="en-CA"/>
        </a:p>
      </dgm:t>
    </dgm:pt>
    <dgm:pt modelId="{8DAE7856-CE40-4577-A4DF-56A75037F86B}">
      <dgm:prSet phldrT="[Text]" custT="1"/>
      <dgm:spPr>
        <a:solidFill>
          <a:schemeClr val="accent6">
            <a:lumMod val="40000"/>
            <a:lumOff val="60000"/>
          </a:schemeClr>
        </a:solidFill>
      </dgm:spPr>
      <dgm:t>
        <a:bodyPr/>
        <a:lstStyle/>
        <a:p>
          <a:r>
            <a:rPr lang="en-US" sz="1400" b="1" dirty="0" smtClean="0">
              <a:solidFill>
                <a:schemeClr val="tx1"/>
              </a:solidFill>
            </a:rPr>
            <a:t>Deputy Minister</a:t>
          </a:r>
          <a:endParaRPr lang="en-CA" sz="1400" b="1" dirty="0">
            <a:solidFill>
              <a:schemeClr val="tx1"/>
            </a:solidFill>
          </a:endParaRPr>
        </a:p>
      </dgm:t>
    </dgm:pt>
    <dgm:pt modelId="{4247E0CF-0C95-4465-85A5-5C81B3510364}" type="parTrans" cxnId="{203AAD49-D065-40FF-B8C8-308064BD7AC3}">
      <dgm:prSet/>
      <dgm:spPr/>
      <dgm:t>
        <a:bodyPr/>
        <a:lstStyle/>
        <a:p>
          <a:endParaRPr lang="en-CA"/>
        </a:p>
      </dgm:t>
    </dgm:pt>
    <dgm:pt modelId="{F072F452-9F1B-42D3-AD32-EE108A12BDA0}" type="sibTrans" cxnId="{203AAD49-D065-40FF-B8C8-308064BD7AC3}">
      <dgm:prSet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en-US" b="1" dirty="0" smtClean="0"/>
            <a:t>A1</a:t>
          </a:r>
          <a:endParaRPr lang="en-CA" b="1" dirty="0"/>
        </a:p>
      </dgm:t>
    </dgm:pt>
    <dgm:pt modelId="{92E3C72E-415D-49C4-9F4B-5BE3EEEDDB6E}">
      <dgm:prSet phldrT="[Text]" custT="1"/>
      <dgm:spPr>
        <a:ln w="38100">
          <a:solidFill>
            <a:schemeClr val="tx1"/>
          </a:solidFill>
        </a:ln>
      </dgm:spPr>
      <dgm:t>
        <a:bodyPr/>
        <a:lstStyle/>
        <a:p>
          <a:r>
            <a:rPr lang="en-US" sz="1400" b="1" dirty="0" smtClean="0">
              <a:solidFill>
                <a:schemeClr val="tx1"/>
              </a:solidFill>
            </a:rPr>
            <a:t>B.B.</a:t>
          </a:r>
          <a:br>
            <a:rPr lang="en-US" sz="1400" b="1" dirty="0" smtClean="0">
              <a:solidFill>
                <a:schemeClr val="tx1"/>
              </a:solidFill>
            </a:rPr>
          </a:br>
          <a:r>
            <a:rPr lang="en-US" sz="1400" b="0" dirty="0" smtClean="0">
              <a:solidFill>
                <a:schemeClr val="tx1"/>
              </a:solidFill>
            </a:rPr>
            <a:t>(sponsor) </a:t>
          </a:r>
          <a:endParaRPr lang="en-CA" sz="1400" b="0" dirty="0">
            <a:solidFill>
              <a:schemeClr val="tx1"/>
            </a:solidFill>
          </a:endParaRPr>
        </a:p>
      </dgm:t>
    </dgm:pt>
    <dgm:pt modelId="{7490CF6E-D0F8-46BC-B0C7-E7A0C2F689DC}" type="parTrans" cxnId="{CFD31322-DB80-45B9-9903-CC7EE7AF5891}">
      <dgm:prSet/>
      <dgm:spPr>
        <a:ln w="28575">
          <a:solidFill>
            <a:srgbClr val="FF0000"/>
          </a:solidFill>
        </a:ln>
      </dgm:spPr>
      <dgm:t>
        <a:bodyPr/>
        <a:lstStyle/>
        <a:p>
          <a:endParaRPr lang="en-CA"/>
        </a:p>
      </dgm:t>
    </dgm:pt>
    <dgm:pt modelId="{9C6F0DBD-25E3-4967-A4BA-673FBB794140}" type="sibTrans" cxnId="{CFD31322-DB80-45B9-9903-CC7EE7AF5891}">
      <dgm:prSet/>
      <dgm:spPr>
        <a:solidFill>
          <a:srgbClr val="FFFF00">
            <a:alpha val="90000"/>
          </a:srgbClr>
        </a:solidFill>
      </dgm:spPr>
      <dgm:t>
        <a:bodyPr/>
        <a:lstStyle/>
        <a:p>
          <a:r>
            <a:rPr lang="en-US" b="1" dirty="0" smtClean="0"/>
            <a:t>A2</a:t>
          </a:r>
          <a:endParaRPr lang="en-CA" b="1" dirty="0"/>
        </a:p>
      </dgm:t>
    </dgm:pt>
    <dgm:pt modelId="{40BDF2B0-A165-433F-84BA-9965006AA0E5}">
      <dgm:prSet phldrT="[Text]" custT="1"/>
      <dgm:spPr/>
      <dgm:t>
        <a:bodyPr/>
        <a:lstStyle/>
        <a:p>
          <a:r>
            <a:rPr lang="en-US" sz="1400" b="1" dirty="0" smtClean="0"/>
            <a:t>K.K.</a:t>
          </a:r>
          <a:endParaRPr lang="en-CA" sz="1400" b="1" dirty="0"/>
        </a:p>
      </dgm:t>
    </dgm:pt>
    <dgm:pt modelId="{C7DCB992-2866-41EC-A4BC-C50EBBF0B114}" type="parTrans" cxnId="{AFBC1242-3DA3-44E3-BA28-D3B96248CE43}">
      <dgm:prSet/>
      <dgm:spPr>
        <a:ln w="28575">
          <a:solidFill>
            <a:srgbClr val="FF0000"/>
          </a:solidFill>
        </a:ln>
      </dgm:spPr>
      <dgm:t>
        <a:bodyPr/>
        <a:lstStyle/>
        <a:p>
          <a:endParaRPr lang="en-CA"/>
        </a:p>
      </dgm:t>
    </dgm:pt>
    <dgm:pt modelId="{4392A1F7-09A8-4E16-8717-A4BADCAC6C16}" type="sibTrans" cxnId="{AFBC1242-3DA3-44E3-BA28-D3B96248CE43}">
      <dgm:prSet/>
      <dgm:spPr>
        <a:solidFill>
          <a:srgbClr val="FF0000">
            <a:alpha val="90000"/>
          </a:srgbClr>
        </a:solidFill>
      </dgm:spPr>
      <dgm:t>
        <a:bodyPr/>
        <a:lstStyle/>
        <a:p>
          <a:r>
            <a:rPr lang="en-US" b="1" dirty="0" smtClean="0">
              <a:solidFill>
                <a:schemeClr val="bg1"/>
              </a:solidFill>
            </a:rPr>
            <a:t>B1</a:t>
          </a:r>
          <a:endParaRPr lang="en-CA" b="1" dirty="0">
            <a:solidFill>
              <a:schemeClr val="bg1"/>
            </a:solidFill>
          </a:endParaRPr>
        </a:p>
      </dgm:t>
    </dgm:pt>
    <dgm:pt modelId="{B0CDA59F-8F33-4ED7-9FA5-3A837920F9DD}">
      <dgm:prSet phldrT="[Text]" custT="1"/>
      <dgm:spPr/>
      <dgm:t>
        <a:bodyPr/>
        <a:lstStyle/>
        <a:p>
          <a:r>
            <a:rPr lang="en-US" sz="1400" b="1" dirty="0" smtClean="0"/>
            <a:t>A.A.</a:t>
          </a:r>
          <a:endParaRPr lang="en-CA" sz="1400" b="1" dirty="0"/>
        </a:p>
      </dgm:t>
    </dgm:pt>
    <dgm:pt modelId="{8C40272F-BA6B-4645-8239-BE8AF7BDEF18}" type="parTrans" cxnId="{2C7DEBCC-61F4-4351-800F-B42D410E118A}">
      <dgm:prSet/>
      <dgm:spPr/>
      <dgm:t>
        <a:bodyPr/>
        <a:lstStyle/>
        <a:p>
          <a:endParaRPr lang="en-CA"/>
        </a:p>
      </dgm:t>
    </dgm:pt>
    <dgm:pt modelId="{A5F6D5B4-55F7-4F40-ADFE-AE4DD0852421}" type="sibTrans" cxnId="{2C7DEBCC-61F4-4351-800F-B42D410E118A}">
      <dgm:prSet/>
      <dgm:spPr>
        <a:solidFill>
          <a:srgbClr val="FFFF00">
            <a:alpha val="90000"/>
          </a:srgbClr>
        </a:solidFill>
      </dgm:spPr>
      <dgm:t>
        <a:bodyPr/>
        <a:lstStyle/>
        <a:p>
          <a:r>
            <a:rPr lang="en-US" b="1" dirty="0" smtClean="0"/>
            <a:t>A2</a:t>
          </a:r>
          <a:endParaRPr lang="en-CA" b="1" dirty="0"/>
        </a:p>
      </dgm:t>
    </dgm:pt>
    <dgm:pt modelId="{83C96001-D224-422C-8F3A-1BC200FE59EC}">
      <dgm:prSet phldrT="[Text]" custT="1"/>
      <dgm:spPr/>
      <dgm:t>
        <a:bodyPr/>
        <a:lstStyle/>
        <a:p>
          <a:r>
            <a:rPr lang="en-US" sz="1400" b="1" dirty="0" smtClean="0"/>
            <a:t>D.D.</a:t>
          </a:r>
          <a:endParaRPr lang="en-CA" sz="1400" b="1" dirty="0"/>
        </a:p>
      </dgm:t>
    </dgm:pt>
    <dgm:pt modelId="{4A410C64-3539-41E8-9B1B-4300CD6F97A1}" type="parTrans" cxnId="{D2EC9E90-2E07-48D3-9A89-724D8E82AC5D}">
      <dgm:prSet/>
      <dgm:spPr/>
      <dgm:t>
        <a:bodyPr/>
        <a:lstStyle/>
        <a:p>
          <a:endParaRPr lang="en-CA"/>
        </a:p>
      </dgm:t>
    </dgm:pt>
    <dgm:pt modelId="{93F99302-D24C-4538-A1AB-3233610CC940}" type="sibTrans" cxnId="{D2EC9E90-2E07-48D3-9A89-724D8E82AC5D}">
      <dgm:prSet/>
      <dgm:spPr>
        <a:solidFill>
          <a:srgbClr val="92D050">
            <a:alpha val="90000"/>
          </a:srgbClr>
        </a:solidFill>
      </dgm:spPr>
      <dgm:t>
        <a:bodyPr/>
        <a:lstStyle/>
        <a:p>
          <a:r>
            <a:rPr lang="en-US" b="1" dirty="0" smtClean="0"/>
            <a:t>A1</a:t>
          </a:r>
          <a:endParaRPr lang="en-CA" b="1" dirty="0"/>
        </a:p>
      </dgm:t>
    </dgm:pt>
    <dgm:pt modelId="{DF11A13D-2D92-447F-B173-EC7E68306655}">
      <dgm:prSet phldrT="[Text]" custT="1"/>
      <dgm:spPr/>
      <dgm:t>
        <a:bodyPr/>
        <a:lstStyle/>
        <a:p>
          <a:r>
            <a:rPr lang="en-US" sz="1400" b="1" dirty="0" smtClean="0"/>
            <a:t>F.F.</a:t>
          </a:r>
          <a:endParaRPr lang="en-CA" sz="1400" b="1" dirty="0"/>
        </a:p>
      </dgm:t>
    </dgm:pt>
    <dgm:pt modelId="{951093DE-2133-4133-8686-BBB39738A92A}" type="parTrans" cxnId="{9AB847DD-1B48-48C4-BE58-02B63C37F66C}">
      <dgm:prSet/>
      <dgm:spPr/>
      <dgm:t>
        <a:bodyPr/>
        <a:lstStyle/>
        <a:p>
          <a:endParaRPr lang="en-CA"/>
        </a:p>
      </dgm:t>
    </dgm:pt>
    <dgm:pt modelId="{0B9CFC62-5734-47C8-84BA-3106C8D8BCB2}" type="sibTrans" cxnId="{9AB847DD-1B48-48C4-BE58-02B63C37F66C}">
      <dgm:prSet/>
      <dgm:spPr>
        <a:solidFill>
          <a:srgbClr val="FF0000">
            <a:alpha val="90000"/>
          </a:srgbClr>
        </a:solidFill>
      </dgm:spPr>
      <dgm:t>
        <a:bodyPr/>
        <a:lstStyle/>
        <a:p>
          <a:r>
            <a:rPr lang="en-US" b="1" dirty="0" smtClean="0">
              <a:solidFill>
                <a:schemeClr val="bg1"/>
              </a:solidFill>
            </a:rPr>
            <a:t>A3</a:t>
          </a:r>
          <a:endParaRPr lang="en-CA" b="1" dirty="0">
            <a:solidFill>
              <a:schemeClr val="bg1"/>
            </a:solidFill>
          </a:endParaRPr>
        </a:p>
      </dgm:t>
    </dgm:pt>
    <dgm:pt modelId="{F38140D9-6633-422A-A2C5-85AEB17C5BA8}">
      <dgm:prSet phldrT="[Text]" custT="1"/>
      <dgm:spPr/>
      <dgm:t>
        <a:bodyPr/>
        <a:lstStyle/>
        <a:p>
          <a:r>
            <a:rPr lang="en-US" sz="1400" b="1" dirty="0" smtClean="0"/>
            <a:t>L.L.</a:t>
          </a:r>
          <a:endParaRPr lang="en-CA" sz="1400" b="1" dirty="0"/>
        </a:p>
      </dgm:t>
    </dgm:pt>
    <dgm:pt modelId="{06124A5E-98D2-4C55-A7A2-38A67C6D9C2A}" type="parTrans" cxnId="{FC07073E-6422-41DB-AC70-87DF590DAC27}">
      <dgm:prSet/>
      <dgm:spPr/>
      <dgm:t>
        <a:bodyPr/>
        <a:lstStyle/>
        <a:p>
          <a:endParaRPr lang="en-CA"/>
        </a:p>
      </dgm:t>
    </dgm:pt>
    <dgm:pt modelId="{A8CAC3CE-5402-451E-A2AF-E984930A4D04}" type="sibTrans" cxnId="{FC07073E-6422-41DB-AC70-87DF590DAC27}">
      <dgm:prSet/>
      <dgm:spPr>
        <a:solidFill>
          <a:srgbClr val="FF0000">
            <a:alpha val="90000"/>
          </a:srgbClr>
        </a:solidFill>
      </dgm:spPr>
      <dgm:t>
        <a:bodyPr/>
        <a:lstStyle/>
        <a:p>
          <a:r>
            <a:rPr lang="en-US" b="1" dirty="0" smtClean="0">
              <a:solidFill>
                <a:schemeClr val="bg1"/>
              </a:solidFill>
            </a:rPr>
            <a:t>B3</a:t>
          </a:r>
          <a:endParaRPr lang="en-CA" b="1" dirty="0">
            <a:solidFill>
              <a:schemeClr val="bg1"/>
            </a:solidFill>
          </a:endParaRPr>
        </a:p>
      </dgm:t>
    </dgm:pt>
    <dgm:pt modelId="{3E03CD84-40EA-4FEC-9A0C-62D6F0BA8973}" type="pres">
      <dgm:prSet presAssocID="{06E90A01-CE48-4D04-B320-E1B084BDF11E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CA"/>
        </a:p>
      </dgm:t>
    </dgm:pt>
    <dgm:pt modelId="{953FE53D-C701-47CD-A1EC-C2F9DE8AD05B}" type="pres">
      <dgm:prSet presAssocID="{8DAE7856-CE40-4577-A4DF-56A75037F86B}" presName="hierRoot1" presStyleCnt="0">
        <dgm:presLayoutVars>
          <dgm:hierBranch val="init"/>
        </dgm:presLayoutVars>
      </dgm:prSet>
      <dgm:spPr/>
    </dgm:pt>
    <dgm:pt modelId="{91E40753-6823-4C56-8774-90A0A0BBB72B}" type="pres">
      <dgm:prSet presAssocID="{8DAE7856-CE40-4577-A4DF-56A75037F86B}" presName="rootComposite1" presStyleCnt="0"/>
      <dgm:spPr/>
    </dgm:pt>
    <dgm:pt modelId="{6A3E322B-14B5-4F4E-8747-6386E7054783}" type="pres">
      <dgm:prSet presAssocID="{8DAE7856-CE40-4577-A4DF-56A75037F86B}" presName="rootText1" presStyleLbl="node0" presStyleIdx="0" presStyleCnt="1" custScaleX="171880" custLinFactNeighborX="12301" custLinFactNeighborY="-37494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39DB9D64-90B8-451B-AA05-518990C2BFE1}" type="pres">
      <dgm:prSet presAssocID="{8DAE7856-CE40-4577-A4DF-56A75037F86B}" presName="titleText1" presStyleLbl="fgAcc0" presStyleIdx="0" presStyleCnt="1" custLinFactY="-12481" custLinFactNeighborX="18576" custLinFactNeighborY="-100000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71A11399-2298-411D-8905-51E24081F02B}" type="pres">
      <dgm:prSet presAssocID="{8DAE7856-CE40-4577-A4DF-56A75037F86B}" presName="rootConnector1" presStyleLbl="node1" presStyleIdx="0" presStyleCnt="6"/>
      <dgm:spPr/>
      <dgm:t>
        <a:bodyPr/>
        <a:lstStyle/>
        <a:p>
          <a:endParaRPr lang="en-CA"/>
        </a:p>
      </dgm:t>
    </dgm:pt>
    <dgm:pt modelId="{0D9E455D-0C5C-4D83-B66C-82BCDE771020}" type="pres">
      <dgm:prSet presAssocID="{8DAE7856-CE40-4577-A4DF-56A75037F86B}" presName="hierChild2" presStyleCnt="0"/>
      <dgm:spPr/>
    </dgm:pt>
    <dgm:pt modelId="{863A6139-5A05-4AD3-BC34-4E0313FC5F56}" type="pres">
      <dgm:prSet presAssocID="{7490CF6E-D0F8-46BC-B0C7-E7A0C2F689DC}" presName="Name37" presStyleLbl="parChTrans1D2" presStyleIdx="0" presStyleCnt="2"/>
      <dgm:spPr/>
      <dgm:t>
        <a:bodyPr/>
        <a:lstStyle/>
        <a:p>
          <a:endParaRPr lang="en-CA"/>
        </a:p>
      </dgm:t>
    </dgm:pt>
    <dgm:pt modelId="{A59E08E4-3AE9-4AB5-98C5-CFB97CA6FEF2}" type="pres">
      <dgm:prSet presAssocID="{92E3C72E-415D-49C4-9F4B-5BE3EEEDDB6E}" presName="hierRoot2" presStyleCnt="0">
        <dgm:presLayoutVars>
          <dgm:hierBranch val="init"/>
        </dgm:presLayoutVars>
      </dgm:prSet>
      <dgm:spPr/>
    </dgm:pt>
    <dgm:pt modelId="{30F5262A-C656-479C-BF24-81E160C608A4}" type="pres">
      <dgm:prSet presAssocID="{92E3C72E-415D-49C4-9F4B-5BE3EEEDDB6E}" presName="rootComposite" presStyleCnt="0"/>
      <dgm:spPr/>
    </dgm:pt>
    <dgm:pt modelId="{95E1358A-95E2-426B-8146-C08626D6C8B2}" type="pres">
      <dgm:prSet presAssocID="{92E3C72E-415D-49C4-9F4B-5BE3EEEDDB6E}" presName="rootText" presStyleLbl="node1" presStyleIdx="0" presStyleCnt="6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E2CDEB5C-EAA0-453A-B1D3-B620A11A78B1}" type="pres">
      <dgm:prSet presAssocID="{92E3C72E-415D-49C4-9F4B-5BE3EEEDDB6E}" presName="titleText2" presStyleLbl="fgAcc1" presStyleIdx="0" presStyleCnt="6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07C88DE9-A164-47DD-8750-3030F896A100}" type="pres">
      <dgm:prSet presAssocID="{92E3C72E-415D-49C4-9F4B-5BE3EEEDDB6E}" presName="rootConnector" presStyleLbl="node2" presStyleIdx="0" presStyleCnt="0"/>
      <dgm:spPr/>
      <dgm:t>
        <a:bodyPr/>
        <a:lstStyle/>
        <a:p>
          <a:endParaRPr lang="en-CA"/>
        </a:p>
      </dgm:t>
    </dgm:pt>
    <dgm:pt modelId="{FF35E64A-6732-43F6-8971-4D75296F106D}" type="pres">
      <dgm:prSet presAssocID="{92E3C72E-415D-49C4-9F4B-5BE3EEEDDB6E}" presName="hierChild4" presStyleCnt="0"/>
      <dgm:spPr/>
    </dgm:pt>
    <dgm:pt modelId="{2962D1C9-BB2E-4C80-93DA-DD670FA80D22}" type="pres">
      <dgm:prSet presAssocID="{8C40272F-BA6B-4645-8239-BE8AF7BDEF18}" presName="Name37" presStyleLbl="parChTrans1D3" presStyleIdx="0" presStyleCnt="4"/>
      <dgm:spPr/>
      <dgm:t>
        <a:bodyPr/>
        <a:lstStyle/>
        <a:p>
          <a:endParaRPr lang="en-CA"/>
        </a:p>
      </dgm:t>
    </dgm:pt>
    <dgm:pt modelId="{0ED62AF2-0CBA-43E8-B7C4-BF8B3C5C5FE2}" type="pres">
      <dgm:prSet presAssocID="{B0CDA59F-8F33-4ED7-9FA5-3A837920F9DD}" presName="hierRoot2" presStyleCnt="0">
        <dgm:presLayoutVars>
          <dgm:hierBranch val="init"/>
        </dgm:presLayoutVars>
      </dgm:prSet>
      <dgm:spPr/>
    </dgm:pt>
    <dgm:pt modelId="{263204D0-D4EB-40AC-9225-3FD9901489B1}" type="pres">
      <dgm:prSet presAssocID="{B0CDA59F-8F33-4ED7-9FA5-3A837920F9DD}" presName="rootComposite" presStyleCnt="0"/>
      <dgm:spPr/>
    </dgm:pt>
    <dgm:pt modelId="{263A6628-793E-479A-8B7F-3AC78DEF84F5}" type="pres">
      <dgm:prSet presAssocID="{B0CDA59F-8F33-4ED7-9FA5-3A837920F9DD}" presName="rootText" presStyleLbl="node1" presStyleIdx="1" presStyleCnt="6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A15986D1-3E81-451B-8C05-A6D048F8E015}" type="pres">
      <dgm:prSet presAssocID="{B0CDA59F-8F33-4ED7-9FA5-3A837920F9DD}" presName="titleText2" presStyleLbl="fgAcc1" presStyleIdx="1" presStyleCnt="6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6F8FF348-38A6-4A91-8669-F3E1DCE5A2CE}" type="pres">
      <dgm:prSet presAssocID="{B0CDA59F-8F33-4ED7-9FA5-3A837920F9DD}" presName="rootConnector" presStyleLbl="node3" presStyleIdx="0" presStyleCnt="0"/>
      <dgm:spPr/>
      <dgm:t>
        <a:bodyPr/>
        <a:lstStyle/>
        <a:p>
          <a:endParaRPr lang="en-CA"/>
        </a:p>
      </dgm:t>
    </dgm:pt>
    <dgm:pt modelId="{48DD4082-A293-4FF5-AB95-F465F7E632DE}" type="pres">
      <dgm:prSet presAssocID="{B0CDA59F-8F33-4ED7-9FA5-3A837920F9DD}" presName="hierChild4" presStyleCnt="0"/>
      <dgm:spPr/>
    </dgm:pt>
    <dgm:pt modelId="{ECFF4280-9C23-474F-A197-4245DFECC436}" type="pres">
      <dgm:prSet presAssocID="{B0CDA59F-8F33-4ED7-9FA5-3A837920F9DD}" presName="hierChild5" presStyleCnt="0"/>
      <dgm:spPr/>
    </dgm:pt>
    <dgm:pt modelId="{58D01422-6013-407B-A443-7205E577E983}" type="pres">
      <dgm:prSet presAssocID="{4A410C64-3539-41E8-9B1B-4300CD6F97A1}" presName="Name37" presStyleLbl="parChTrans1D3" presStyleIdx="1" presStyleCnt="4"/>
      <dgm:spPr/>
      <dgm:t>
        <a:bodyPr/>
        <a:lstStyle/>
        <a:p>
          <a:endParaRPr lang="en-CA"/>
        </a:p>
      </dgm:t>
    </dgm:pt>
    <dgm:pt modelId="{359A5200-5C4D-4652-99A1-95C68116C779}" type="pres">
      <dgm:prSet presAssocID="{83C96001-D224-422C-8F3A-1BC200FE59EC}" presName="hierRoot2" presStyleCnt="0">
        <dgm:presLayoutVars>
          <dgm:hierBranch val="init"/>
        </dgm:presLayoutVars>
      </dgm:prSet>
      <dgm:spPr/>
    </dgm:pt>
    <dgm:pt modelId="{869CC8AC-0D44-4EF0-8640-7677C3C5A48D}" type="pres">
      <dgm:prSet presAssocID="{83C96001-D224-422C-8F3A-1BC200FE59EC}" presName="rootComposite" presStyleCnt="0"/>
      <dgm:spPr/>
    </dgm:pt>
    <dgm:pt modelId="{434D0D9C-A3A7-4FAD-A9F7-5BEC8968D92F}" type="pres">
      <dgm:prSet presAssocID="{83C96001-D224-422C-8F3A-1BC200FE59EC}" presName="rootText" presStyleLbl="node1" presStyleIdx="2" presStyleCnt="6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33731B87-69BA-45A9-986B-5D9F7844F2A4}" type="pres">
      <dgm:prSet presAssocID="{83C96001-D224-422C-8F3A-1BC200FE59EC}" presName="titleText2" presStyleLbl="fgAcc1" presStyleIdx="2" presStyleCnt="6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2C316266-8CEF-47C2-829B-B57F84E6D0D8}" type="pres">
      <dgm:prSet presAssocID="{83C96001-D224-422C-8F3A-1BC200FE59EC}" presName="rootConnector" presStyleLbl="node3" presStyleIdx="0" presStyleCnt="0"/>
      <dgm:spPr/>
      <dgm:t>
        <a:bodyPr/>
        <a:lstStyle/>
        <a:p>
          <a:endParaRPr lang="en-CA"/>
        </a:p>
      </dgm:t>
    </dgm:pt>
    <dgm:pt modelId="{BB55DC2B-E768-45AD-B521-2CB8DA931F26}" type="pres">
      <dgm:prSet presAssocID="{83C96001-D224-422C-8F3A-1BC200FE59EC}" presName="hierChild4" presStyleCnt="0"/>
      <dgm:spPr/>
    </dgm:pt>
    <dgm:pt modelId="{C000B44C-EDE1-40CD-A739-F496710C68E0}" type="pres">
      <dgm:prSet presAssocID="{83C96001-D224-422C-8F3A-1BC200FE59EC}" presName="hierChild5" presStyleCnt="0"/>
      <dgm:spPr/>
    </dgm:pt>
    <dgm:pt modelId="{75018EE3-2685-4AD7-B68B-28E596755956}" type="pres">
      <dgm:prSet presAssocID="{951093DE-2133-4133-8686-BBB39738A92A}" presName="Name37" presStyleLbl="parChTrans1D3" presStyleIdx="2" presStyleCnt="4"/>
      <dgm:spPr/>
      <dgm:t>
        <a:bodyPr/>
        <a:lstStyle/>
        <a:p>
          <a:endParaRPr lang="en-CA"/>
        </a:p>
      </dgm:t>
    </dgm:pt>
    <dgm:pt modelId="{2D036172-102B-4594-85EE-979CE46ADD52}" type="pres">
      <dgm:prSet presAssocID="{DF11A13D-2D92-447F-B173-EC7E68306655}" presName="hierRoot2" presStyleCnt="0">
        <dgm:presLayoutVars>
          <dgm:hierBranch val="init"/>
        </dgm:presLayoutVars>
      </dgm:prSet>
      <dgm:spPr/>
    </dgm:pt>
    <dgm:pt modelId="{EFE26D60-A20E-4FAD-8A11-7CF07D04E5AF}" type="pres">
      <dgm:prSet presAssocID="{DF11A13D-2D92-447F-B173-EC7E68306655}" presName="rootComposite" presStyleCnt="0"/>
      <dgm:spPr/>
    </dgm:pt>
    <dgm:pt modelId="{72C856BE-2D9A-4365-9004-80DBD7AB7DEF}" type="pres">
      <dgm:prSet presAssocID="{DF11A13D-2D92-447F-B173-EC7E68306655}" presName="rootText" presStyleLbl="node1" presStyleIdx="3" presStyleCnt="6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2B736DB7-CFF1-4B4B-BB39-2147C0ADC30C}" type="pres">
      <dgm:prSet presAssocID="{DF11A13D-2D92-447F-B173-EC7E68306655}" presName="titleText2" presStyleLbl="fgAcc1" presStyleIdx="3" presStyleCnt="6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ACF5ABA7-A7E9-4EC7-8106-EF1F20732836}" type="pres">
      <dgm:prSet presAssocID="{DF11A13D-2D92-447F-B173-EC7E68306655}" presName="rootConnector" presStyleLbl="node3" presStyleIdx="0" presStyleCnt="0"/>
      <dgm:spPr/>
      <dgm:t>
        <a:bodyPr/>
        <a:lstStyle/>
        <a:p>
          <a:endParaRPr lang="en-CA"/>
        </a:p>
      </dgm:t>
    </dgm:pt>
    <dgm:pt modelId="{3F034F85-07B2-4C3F-880A-C4B248F49201}" type="pres">
      <dgm:prSet presAssocID="{DF11A13D-2D92-447F-B173-EC7E68306655}" presName="hierChild4" presStyleCnt="0"/>
      <dgm:spPr/>
    </dgm:pt>
    <dgm:pt modelId="{1F23C4FB-AF89-4586-B86C-82CDC3D4C549}" type="pres">
      <dgm:prSet presAssocID="{DF11A13D-2D92-447F-B173-EC7E68306655}" presName="hierChild5" presStyleCnt="0"/>
      <dgm:spPr/>
    </dgm:pt>
    <dgm:pt modelId="{EDEF4EA3-0187-448D-948B-D6F0BC21EF41}" type="pres">
      <dgm:prSet presAssocID="{92E3C72E-415D-49C4-9F4B-5BE3EEEDDB6E}" presName="hierChild5" presStyleCnt="0"/>
      <dgm:spPr/>
    </dgm:pt>
    <dgm:pt modelId="{A088164F-BBDD-4A70-B3F2-B95E2CB6023C}" type="pres">
      <dgm:prSet presAssocID="{C7DCB992-2866-41EC-A4BC-C50EBBF0B114}" presName="Name37" presStyleLbl="parChTrans1D2" presStyleIdx="1" presStyleCnt="2"/>
      <dgm:spPr/>
      <dgm:t>
        <a:bodyPr/>
        <a:lstStyle/>
        <a:p>
          <a:endParaRPr lang="en-CA"/>
        </a:p>
      </dgm:t>
    </dgm:pt>
    <dgm:pt modelId="{14ACFC41-564A-4658-BCA0-CD6D72F1A869}" type="pres">
      <dgm:prSet presAssocID="{40BDF2B0-A165-433F-84BA-9965006AA0E5}" presName="hierRoot2" presStyleCnt="0">
        <dgm:presLayoutVars>
          <dgm:hierBranch val="init"/>
        </dgm:presLayoutVars>
      </dgm:prSet>
      <dgm:spPr/>
    </dgm:pt>
    <dgm:pt modelId="{F3BDB92E-3E7D-4264-AEB9-41F51ABE0C45}" type="pres">
      <dgm:prSet presAssocID="{40BDF2B0-A165-433F-84BA-9965006AA0E5}" presName="rootComposite" presStyleCnt="0"/>
      <dgm:spPr/>
    </dgm:pt>
    <dgm:pt modelId="{F9B7945E-6559-40C4-9C22-D082927DE84F}" type="pres">
      <dgm:prSet presAssocID="{40BDF2B0-A165-433F-84BA-9965006AA0E5}" presName="rootText" presStyleLbl="node1" presStyleIdx="4" presStyleCnt="6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02AB8A45-6B0D-40D4-BBBA-E3DFC7C85826}" type="pres">
      <dgm:prSet presAssocID="{40BDF2B0-A165-433F-84BA-9965006AA0E5}" presName="titleText2" presStyleLbl="fgAcc1" presStyleIdx="4" presStyleCnt="6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C4AAB600-7BA4-4F02-A8AD-D309D5575B23}" type="pres">
      <dgm:prSet presAssocID="{40BDF2B0-A165-433F-84BA-9965006AA0E5}" presName="rootConnector" presStyleLbl="node2" presStyleIdx="0" presStyleCnt="0"/>
      <dgm:spPr/>
      <dgm:t>
        <a:bodyPr/>
        <a:lstStyle/>
        <a:p>
          <a:endParaRPr lang="en-CA"/>
        </a:p>
      </dgm:t>
    </dgm:pt>
    <dgm:pt modelId="{AD3EB04D-52F7-4DEA-B352-5D1B2569B77A}" type="pres">
      <dgm:prSet presAssocID="{40BDF2B0-A165-433F-84BA-9965006AA0E5}" presName="hierChild4" presStyleCnt="0"/>
      <dgm:spPr/>
    </dgm:pt>
    <dgm:pt modelId="{18BE466B-60A0-445A-9265-6D88F4CC60F2}" type="pres">
      <dgm:prSet presAssocID="{06124A5E-98D2-4C55-A7A2-38A67C6D9C2A}" presName="Name37" presStyleLbl="parChTrans1D3" presStyleIdx="3" presStyleCnt="4"/>
      <dgm:spPr/>
      <dgm:t>
        <a:bodyPr/>
        <a:lstStyle/>
        <a:p>
          <a:endParaRPr lang="en-CA"/>
        </a:p>
      </dgm:t>
    </dgm:pt>
    <dgm:pt modelId="{F5395EEE-7070-44AB-8781-8403CCA43683}" type="pres">
      <dgm:prSet presAssocID="{F38140D9-6633-422A-A2C5-85AEB17C5BA8}" presName="hierRoot2" presStyleCnt="0">
        <dgm:presLayoutVars>
          <dgm:hierBranch val="init"/>
        </dgm:presLayoutVars>
      </dgm:prSet>
      <dgm:spPr/>
    </dgm:pt>
    <dgm:pt modelId="{F4E226A1-88A9-4C10-AC2A-C16148D9B93E}" type="pres">
      <dgm:prSet presAssocID="{F38140D9-6633-422A-A2C5-85AEB17C5BA8}" presName="rootComposite" presStyleCnt="0"/>
      <dgm:spPr/>
    </dgm:pt>
    <dgm:pt modelId="{C6B5BD8E-FFDF-4DCD-88F4-2E0F3204F1F6}" type="pres">
      <dgm:prSet presAssocID="{F38140D9-6633-422A-A2C5-85AEB17C5BA8}" presName="rootText" presStyleLbl="node1" presStyleIdx="5" presStyleCnt="6">
        <dgm:presLayoutVars>
          <dgm:chMax/>
          <dgm:chPref val="3"/>
        </dgm:presLayoutVars>
      </dgm:prSet>
      <dgm:spPr/>
      <dgm:t>
        <a:bodyPr/>
        <a:lstStyle/>
        <a:p>
          <a:endParaRPr lang="en-CA"/>
        </a:p>
      </dgm:t>
    </dgm:pt>
    <dgm:pt modelId="{7637C753-2FA1-4ACA-8529-478E1C32925B}" type="pres">
      <dgm:prSet presAssocID="{F38140D9-6633-422A-A2C5-85AEB17C5BA8}" presName="titleText2" presStyleLbl="fgAcc1" presStyleIdx="5" presStyleCnt="6">
        <dgm:presLayoutVars>
          <dgm:chMax val="0"/>
          <dgm:chPref val="0"/>
        </dgm:presLayoutVars>
      </dgm:prSet>
      <dgm:spPr/>
      <dgm:t>
        <a:bodyPr/>
        <a:lstStyle/>
        <a:p>
          <a:endParaRPr lang="en-CA"/>
        </a:p>
      </dgm:t>
    </dgm:pt>
    <dgm:pt modelId="{7FBC5621-0415-4E19-9469-371BA686B416}" type="pres">
      <dgm:prSet presAssocID="{F38140D9-6633-422A-A2C5-85AEB17C5BA8}" presName="rootConnector" presStyleLbl="node3" presStyleIdx="0" presStyleCnt="0"/>
      <dgm:spPr/>
      <dgm:t>
        <a:bodyPr/>
        <a:lstStyle/>
        <a:p>
          <a:endParaRPr lang="en-CA"/>
        </a:p>
      </dgm:t>
    </dgm:pt>
    <dgm:pt modelId="{02AA16E9-E2A7-4977-8C5F-01ECD747FFAA}" type="pres">
      <dgm:prSet presAssocID="{F38140D9-6633-422A-A2C5-85AEB17C5BA8}" presName="hierChild4" presStyleCnt="0"/>
      <dgm:spPr/>
    </dgm:pt>
    <dgm:pt modelId="{E487B9F6-182B-4E28-9D55-C1CCB42ACB52}" type="pres">
      <dgm:prSet presAssocID="{F38140D9-6633-422A-A2C5-85AEB17C5BA8}" presName="hierChild5" presStyleCnt="0"/>
      <dgm:spPr/>
    </dgm:pt>
    <dgm:pt modelId="{B20859A8-52E8-4E94-9D23-8B9FB0E19202}" type="pres">
      <dgm:prSet presAssocID="{40BDF2B0-A165-433F-84BA-9965006AA0E5}" presName="hierChild5" presStyleCnt="0"/>
      <dgm:spPr/>
    </dgm:pt>
    <dgm:pt modelId="{5724A575-D1E5-4E0D-83F2-68CCBEB49037}" type="pres">
      <dgm:prSet presAssocID="{8DAE7856-CE40-4577-A4DF-56A75037F86B}" presName="hierChild3" presStyleCnt="0"/>
      <dgm:spPr/>
    </dgm:pt>
  </dgm:ptLst>
  <dgm:cxnLst>
    <dgm:cxn modelId="{D1C6D442-EFD3-4865-A39F-0904B2425D55}" type="presOf" srcId="{DF11A13D-2D92-447F-B173-EC7E68306655}" destId="{72C856BE-2D9A-4365-9004-80DBD7AB7DEF}" srcOrd="0" destOrd="0" presId="urn:microsoft.com/office/officeart/2008/layout/NameandTitleOrganizationalChart"/>
    <dgm:cxn modelId="{AFBC1242-3DA3-44E3-BA28-D3B96248CE43}" srcId="{8DAE7856-CE40-4577-A4DF-56A75037F86B}" destId="{40BDF2B0-A165-433F-84BA-9965006AA0E5}" srcOrd="1" destOrd="0" parTransId="{C7DCB992-2866-41EC-A4BC-C50EBBF0B114}" sibTransId="{4392A1F7-09A8-4E16-8717-A4BADCAC6C16}"/>
    <dgm:cxn modelId="{1C8C6F5F-623D-431C-8DC7-40942279C054}" type="presOf" srcId="{DF11A13D-2D92-447F-B173-EC7E68306655}" destId="{ACF5ABA7-A7E9-4EC7-8106-EF1F20732836}" srcOrd="1" destOrd="0" presId="urn:microsoft.com/office/officeart/2008/layout/NameandTitleOrganizationalChart"/>
    <dgm:cxn modelId="{0C65862D-C7BB-451E-9410-6B33CF295DD9}" type="presOf" srcId="{7490CF6E-D0F8-46BC-B0C7-E7A0C2F689DC}" destId="{863A6139-5A05-4AD3-BC34-4E0313FC5F56}" srcOrd="0" destOrd="0" presId="urn:microsoft.com/office/officeart/2008/layout/NameandTitleOrganizationalChart"/>
    <dgm:cxn modelId="{74414332-BDA7-4901-ABE9-659E41D35063}" type="presOf" srcId="{93F99302-D24C-4538-A1AB-3233610CC940}" destId="{33731B87-69BA-45A9-986B-5D9F7844F2A4}" srcOrd="0" destOrd="0" presId="urn:microsoft.com/office/officeart/2008/layout/NameandTitleOrganizationalChart"/>
    <dgm:cxn modelId="{82A2EADA-FFF5-4350-B6F1-8173E3D4C6B9}" type="presOf" srcId="{C7DCB992-2866-41EC-A4BC-C50EBBF0B114}" destId="{A088164F-BBDD-4A70-B3F2-B95E2CB6023C}" srcOrd="0" destOrd="0" presId="urn:microsoft.com/office/officeart/2008/layout/NameandTitleOrganizationalChart"/>
    <dgm:cxn modelId="{9DFFB9D7-BAA0-4019-BB4E-31ACE5D12791}" type="presOf" srcId="{92E3C72E-415D-49C4-9F4B-5BE3EEEDDB6E}" destId="{95E1358A-95E2-426B-8146-C08626D6C8B2}" srcOrd="0" destOrd="0" presId="urn:microsoft.com/office/officeart/2008/layout/NameandTitleOrganizationalChart"/>
    <dgm:cxn modelId="{E23357F1-44B0-4D01-950D-268607272B76}" type="presOf" srcId="{9C6F0DBD-25E3-4967-A4BA-673FBB794140}" destId="{E2CDEB5C-EAA0-453A-B1D3-B620A11A78B1}" srcOrd="0" destOrd="0" presId="urn:microsoft.com/office/officeart/2008/layout/NameandTitleOrganizationalChart"/>
    <dgm:cxn modelId="{191200E8-3533-4DB8-BEF4-57313B989CA0}" type="presOf" srcId="{40BDF2B0-A165-433F-84BA-9965006AA0E5}" destId="{F9B7945E-6559-40C4-9C22-D082927DE84F}" srcOrd="0" destOrd="0" presId="urn:microsoft.com/office/officeart/2008/layout/NameandTitleOrganizationalChart"/>
    <dgm:cxn modelId="{50C3BBE5-2455-4FA6-A965-1B7D6506FB33}" type="presOf" srcId="{951093DE-2133-4133-8686-BBB39738A92A}" destId="{75018EE3-2685-4AD7-B68B-28E596755956}" srcOrd="0" destOrd="0" presId="urn:microsoft.com/office/officeart/2008/layout/NameandTitleOrganizationalChart"/>
    <dgm:cxn modelId="{70D4119D-5D49-43ED-A0AD-7B619747A8DE}" type="presOf" srcId="{06124A5E-98D2-4C55-A7A2-38A67C6D9C2A}" destId="{18BE466B-60A0-445A-9265-6D88F4CC60F2}" srcOrd="0" destOrd="0" presId="urn:microsoft.com/office/officeart/2008/layout/NameandTitleOrganizationalChart"/>
    <dgm:cxn modelId="{552961F8-61EB-4780-AF50-3DB757EA914D}" type="presOf" srcId="{F38140D9-6633-422A-A2C5-85AEB17C5BA8}" destId="{C6B5BD8E-FFDF-4DCD-88F4-2E0F3204F1F6}" srcOrd="0" destOrd="0" presId="urn:microsoft.com/office/officeart/2008/layout/NameandTitleOrganizationalChart"/>
    <dgm:cxn modelId="{067F45D8-F169-436A-A646-8773D46F4E9F}" type="presOf" srcId="{A8CAC3CE-5402-451E-A2AF-E984930A4D04}" destId="{7637C753-2FA1-4ACA-8529-478E1C32925B}" srcOrd="0" destOrd="0" presId="urn:microsoft.com/office/officeart/2008/layout/NameandTitleOrganizationalChart"/>
    <dgm:cxn modelId="{56B1EB49-4D74-417E-8BD1-04DB642FE013}" type="presOf" srcId="{40BDF2B0-A165-433F-84BA-9965006AA0E5}" destId="{C4AAB600-7BA4-4F02-A8AD-D309D5575B23}" srcOrd="1" destOrd="0" presId="urn:microsoft.com/office/officeart/2008/layout/NameandTitleOrganizationalChart"/>
    <dgm:cxn modelId="{D5385A81-02B2-4D15-9EE2-1F02AF62ADF7}" type="presOf" srcId="{8DAE7856-CE40-4577-A4DF-56A75037F86B}" destId="{71A11399-2298-411D-8905-51E24081F02B}" srcOrd="1" destOrd="0" presId="urn:microsoft.com/office/officeart/2008/layout/NameandTitleOrganizationalChart"/>
    <dgm:cxn modelId="{FC07073E-6422-41DB-AC70-87DF590DAC27}" srcId="{40BDF2B0-A165-433F-84BA-9965006AA0E5}" destId="{F38140D9-6633-422A-A2C5-85AEB17C5BA8}" srcOrd="0" destOrd="0" parTransId="{06124A5E-98D2-4C55-A7A2-38A67C6D9C2A}" sibTransId="{A8CAC3CE-5402-451E-A2AF-E984930A4D04}"/>
    <dgm:cxn modelId="{DFA51230-F924-458B-877F-E3DC2CDB7813}" type="presOf" srcId="{8C40272F-BA6B-4645-8239-BE8AF7BDEF18}" destId="{2962D1C9-BB2E-4C80-93DA-DD670FA80D22}" srcOrd="0" destOrd="0" presId="urn:microsoft.com/office/officeart/2008/layout/NameandTitleOrganizationalChart"/>
    <dgm:cxn modelId="{5AC7DFE7-71E5-4930-B379-96D70781C498}" type="presOf" srcId="{92E3C72E-415D-49C4-9F4B-5BE3EEEDDB6E}" destId="{07C88DE9-A164-47DD-8750-3030F896A100}" srcOrd="1" destOrd="0" presId="urn:microsoft.com/office/officeart/2008/layout/NameandTitleOrganizationalChart"/>
    <dgm:cxn modelId="{D2EC9E90-2E07-48D3-9A89-724D8E82AC5D}" srcId="{92E3C72E-415D-49C4-9F4B-5BE3EEEDDB6E}" destId="{83C96001-D224-422C-8F3A-1BC200FE59EC}" srcOrd="1" destOrd="0" parTransId="{4A410C64-3539-41E8-9B1B-4300CD6F97A1}" sibTransId="{93F99302-D24C-4538-A1AB-3233610CC940}"/>
    <dgm:cxn modelId="{CFD31322-DB80-45B9-9903-CC7EE7AF5891}" srcId="{8DAE7856-CE40-4577-A4DF-56A75037F86B}" destId="{92E3C72E-415D-49C4-9F4B-5BE3EEEDDB6E}" srcOrd="0" destOrd="0" parTransId="{7490CF6E-D0F8-46BC-B0C7-E7A0C2F689DC}" sibTransId="{9C6F0DBD-25E3-4967-A4BA-673FBB794140}"/>
    <dgm:cxn modelId="{42C54757-7E08-4A89-B82B-090D24C3B43A}" type="presOf" srcId="{0B9CFC62-5734-47C8-84BA-3106C8D8BCB2}" destId="{2B736DB7-CFF1-4B4B-BB39-2147C0ADC30C}" srcOrd="0" destOrd="0" presId="urn:microsoft.com/office/officeart/2008/layout/NameandTitleOrganizationalChart"/>
    <dgm:cxn modelId="{AF241708-7AEA-47D5-9964-2F65AB08853B}" type="presOf" srcId="{8DAE7856-CE40-4577-A4DF-56A75037F86B}" destId="{6A3E322B-14B5-4F4E-8747-6386E7054783}" srcOrd="0" destOrd="0" presId="urn:microsoft.com/office/officeart/2008/layout/NameandTitleOrganizationalChart"/>
    <dgm:cxn modelId="{AED1C078-7DA7-4869-B2C2-CAFFC1394098}" type="presOf" srcId="{F38140D9-6633-422A-A2C5-85AEB17C5BA8}" destId="{7FBC5621-0415-4E19-9469-371BA686B416}" srcOrd="1" destOrd="0" presId="urn:microsoft.com/office/officeart/2008/layout/NameandTitleOrganizationalChart"/>
    <dgm:cxn modelId="{9AB847DD-1B48-48C4-BE58-02B63C37F66C}" srcId="{92E3C72E-415D-49C4-9F4B-5BE3EEEDDB6E}" destId="{DF11A13D-2D92-447F-B173-EC7E68306655}" srcOrd="2" destOrd="0" parTransId="{951093DE-2133-4133-8686-BBB39738A92A}" sibTransId="{0B9CFC62-5734-47C8-84BA-3106C8D8BCB2}"/>
    <dgm:cxn modelId="{45BBEE6C-18BD-454C-A848-5544BE64BFE5}" type="presOf" srcId="{A5F6D5B4-55F7-4F40-ADFE-AE4DD0852421}" destId="{A15986D1-3E81-451B-8C05-A6D048F8E015}" srcOrd="0" destOrd="0" presId="urn:microsoft.com/office/officeart/2008/layout/NameandTitleOrganizationalChart"/>
    <dgm:cxn modelId="{68471BC3-BF5E-496B-94FE-82042A44C698}" type="presOf" srcId="{83C96001-D224-422C-8F3A-1BC200FE59EC}" destId="{2C316266-8CEF-47C2-829B-B57F84E6D0D8}" srcOrd="1" destOrd="0" presId="urn:microsoft.com/office/officeart/2008/layout/NameandTitleOrganizationalChart"/>
    <dgm:cxn modelId="{9EFF2CA7-5C13-4A30-A445-A78EF5CB5072}" type="presOf" srcId="{06E90A01-CE48-4D04-B320-E1B084BDF11E}" destId="{3E03CD84-40EA-4FEC-9A0C-62D6F0BA8973}" srcOrd="0" destOrd="0" presId="urn:microsoft.com/office/officeart/2008/layout/NameandTitleOrganizationalChart"/>
    <dgm:cxn modelId="{F2952CA9-B241-4CAE-A32F-CCCD56BD1BAA}" type="presOf" srcId="{83C96001-D224-422C-8F3A-1BC200FE59EC}" destId="{434D0D9C-A3A7-4FAD-A9F7-5BEC8968D92F}" srcOrd="0" destOrd="0" presId="urn:microsoft.com/office/officeart/2008/layout/NameandTitleOrganizationalChart"/>
    <dgm:cxn modelId="{21522346-5156-4A5E-A20E-8968FAA8D821}" type="presOf" srcId="{B0CDA59F-8F33-4ED7-9FA5-3A837920F9DD}" destId="{6F8FF348-38A6-4A91-8669-F3E1DCE5A2CE}" srcOrd="1" destOrd="0" presId="urn:microsoft.com/office/officeart/2008/layout/NameandTitleOrganizationalChart"/>
    <dgm:cxn modelId="{203AAD49-D065-40FF-B8C8-308064BD7AC3}" srcId="{06E90A01-CE48-4D04-B320-E1B084BDF11E}" destId="{8DAE7856-CE40-4577-A4DF-56A75037F86B}" srcOrd="0" destOrd="0" parTransId="{4247E0CF-0C95-4465-85A5-5C81B3510364}" sibTransId="{F072F452-9F1B-42D3-AD32-EE108A12BDA0}"/>
    <dgm:cxn modelId="{FBD6D865-229C-4C3B-982F-501614F97221}" type="presOf" srcId="{4392A1F7-09A8-4E16-8717-A4BADCAC6C16}" destId="{02AB8A45-6B0D-40D4-BBBA-E3DFC7C85826}" srcOrd="0" destOrd="0" presId="urn:microsoft.com/office/officeart/2008/layout/NameandTitleOrganizationalChart"/>
    <dgm:cxn modelId="{DB7D827A-8990-4D62-81F9-A789CF1D50AF}" type="presOf" srcId="{F072F452-9F1B-42D3-AD32-EE108A12BDA0}" destId="{39DB9D64-90B8-451B-AA05-518990C2BFE1}" srcOrd="0" destOrd="0" presId="urn:microsoft.com/office/officeart/2008/layout/NameandTitleOrganizationalChart"/>
    <dgm:cxn modelId="{21D35D92-78E3-4715-B35B-294261E53E30}" type="presOf" srcId="{B0CDA59F-8F33-4ED7-9FA5-3A837920F9DD}" destId="{263A6628-793E-479A-8B7F-3AC78DEF84F5}" srcOrd="0" destOrd="0" presId="urn:microsoft.com/office/officeart/2008/layout/NameandTitleOrganizationalChart"/>
    <dgm:cxn modelId="{61CD2C80-A739-45B6-8CCC-C9B66FC6200D}" type="presOf" srcId="{4A410C64-3539-41E8-9B1B-4300CD6F97A1}" destId="{58D01422-6013-407B-A443-7205E577E983}" srcOrd="0" destOrd="0" presId="urn:microsoft.com/office/officeart/2008/layout/NameandTitleOrganizationalChart"/>
    <dgm:cxn modelId="{2C7DEBCC-61F4-4351-800F-B42D410E118A}" srcId="{92E3C72E-415D-49C4-9F4B-5BE3EEEDDB6E}" destId="{B0CDA59F-8F33-4ED7-9FA5-3A837920F9DD}" srcOrd="0" destOrd="0" parTransId="{8C40272F-BA6B-4645-8239-BE8AF7BDEF18}" sibTransId="{A5F6D5B4-55F7-4F40-ADFE-AE4DD0852421}"/>
    <dgm:cxn modelId="{621067F0-499F-4B49-AA90-8764887D2A92}" type="presParOf" srcId="{3E03CD84-40EA-4FEC-9A0C-62D6F0BA8973}" destId="{953FE53D-C701-47CD-A1EC-C2F9DE8AD05B}" srcOrd="0" destOrd="0" presId="urn:microsoft.com/office/officeart/2008/layout/NameandTitleOrganizationalChart"/>
    <dgm:cxn modelId="{07F3EA35-0A63-457F-99C1-75BC813DE26A}" type="presParOf" srcId="{953FE53D-C701-47CD-A1EC-C2F9DE8AD05B}" destId="{91E40753-6823-4C56-8774-90A0A0BBB72B}" srcOrd="0" destOrd="0" presId="urn:microsoft.com/office/officeart/2008/layout/NameandTitleOrganizationalChart"/>
    <dgm:cxn modelId="{945EF95F-CF61-407A-9CC7-76BE6C56D52B}" type="presParOf" srcId="{91E40753-6823-4C56-8774-90A0A0BBB72B}" destId="{6A3E322B-14B5-4F4E-8747-6386E7054783}" srcOrd="0" destOrd="0" presId="urn:microsoft.com/office/officeart/2008/layout/NameandTitleOrganizationalChart"/>
    <dgm:cxn modelId="{4A6D2872-2DE9-420A-BACB-E10F880A14A8}" type="presParOf" srcId="{91E40753-6823-4C56-8774-90A0A0BBB72B}" destId="{39DB9D64-90B8-451B-AA05-518990C2BFE1}" srcOrd="1" destOrd="0" presId="urn:microsoft.com/office/officeart/2008/layout/NameandTitleOrganizationalChart"/>
    <dgm:cxn modelId="{C1677D3F-11D8-4982-B288-CDD4633E1ADD}" type="presParOf" srcId="{91E40753-6823-4C56-8774-90A0A0BBB72B}" destId="{71A11399-2298-411D-8905-51E24081F02B}" srcOrd="2" destOrd="0" presId="urn:microsoft.com/office/officeart/2008/layout/NameandTitleOrganizationalChart"/>
    <dgm:cxn modelId="{200637D0-6833-46AE-BFF5-EDD1B59EF078}" type="presParOf" srcId="{953FE53D-C701-47CD-A1EC-C2F9DE8AD05B}" destId="{0D9E455D-0C5C-4D83-B66C-82BCDE771020}" srcOrd="1" destOrd="0" presId="urn:microsoft.com/office/officeart/2008/layout/NameandTitleOrganizationalChart"/>
    <dgm:cxn modelId="{35DDA0D5-B9E5-49A6-BBEB-CEAE0518D0F6}" type="presParOf" srcId="{0D9E455D-0C5C-4D83-B66C-82BCDE771020}" destId="{863A6139-5A05-4AD3-BC34-4E0313FC5F56}" srcOrd="0" destOrd="0" presId="urn:microsoft.com/office/officeart/2008/layout/NameandTitleOrganizationalChart"/>
    <dgm:cxn modelId="{91B5045D-CBB3-44D4-BF38-B1ACFA853712}" type="presParOf" srcId="{0D9E455D-0C5C-4D83-B66C-82BCDE771020}" destId="{A59E08E4-3AE9-4AB5-98C5-CFB97CA6FEF2}" srcOrd="1" destOrd="0" presId="urn:microsoft.com/office/officeart/2008/layout/NameandTitleOrganizationalChart"/>
    <dgm:cxn modelId="{95439F6F-2FA5-46A0-B8E1-AED895873BEB}" type="presParOf" srcId="{A59E08E4-3AE9-4AB5-98C5-CFB97CA6FEF2}" destId="{30F5262A-C656-479C-BF24-81E160C608A4}" srcOrd="0" destOrd="0" presId="urn:microsoft.com/office/officeart/2008/layout/NameandTitleOrganizationalChart"/>
    <dgm:cxn modelId="{3CA6D7EC-C7BE-4E69-B826-A91CE382A1BD}" type="presParOf" srcId="{30F5262A-C656-479C-BF24-81E160C608A4}" destId="{95E1358A-95E2-426B-8146-C08626D6C8B2}" srcOrd="0" destOrd="0" presId="urn:microsoft.com/office/officeart/2008/layout/NameandTitleOrganizationalChart"/>
    <dgm:cxn modelId="{57836FA4-646C-480A-9C5B-D83760B0D8D2}" type="presParOf" srcId="{30F5262A-C656-479C-BF24-81E160C608A4}" destId="{E2CDEB5C-EAA0-453A-B1D3-B620A11A78B1}" srcOrd="1" destOrd="0" presId="urn:microsoft.com/office/officeart/2008/layout/NameandTitleOrganizationalChart"/>
    <dgm:cxn modelId="{29F9ECA1-B162-4DBC-A257-9DD009AB31D6}" type="presParOf" srcId="{30F5262A-C656-479C-BF24-81E160C608A4}" destId="{07C88DE9-A164-47DD-8750-3030F896A100}" srcOrd="2" destOrd="0" presId="urn:microsoft.com/office/officeart/2008/layout/NameandTitleOrganizationalChart"/>
    <dgm:cxn modelId="{ADBC9CDB-0D3B-4DFA-B961-D191656F9988}" type="presParOf" srcId="{A59E08E4-3AE9-4AB5-98C5-CFB97CA6FEF2}" destId="{FF35E64A-6732-43F6-8971-4D75296F106D}" srcOrd="1" destOrd="0" presId="urn:microsoft.com/office/officeart/2008/layout/NameandTitleOrganizationalChart"/>
    <dgm:cxn modelId="{92BFBEDD-85EB-47CC-B25C-38A3310C2071}" type="presParOf" srcId="{FF35E64A-6732-43F6-8971-4D75296F106D}" destId="{2962D1C9-BB2E-4C80-93DA-DD670FA80D22}" srcOrd="0" destOrd="0" presId="urn:microsoft.com/office/officeart/2008/layout/NameandTitleOrganizationalChart"/>
    <dgm:cxn modelId="{7A85F8F9-4E44-456B-BE93-7B4FE76CCD03}" type="presParOf" srcId="{FF35E64A-6732-43F6-8971-4D75296F106D}" destId="{0ED62AF2-0CBA-43E8-B7C4-BF8B3C5C5FE2}" srcOrd="1" destOrd="0" presId="urn:microsoft.com/office/officeart/2008/layout/NameandTitleOrganizationalChart"/>
    <dgm:cxn modelId="{63B37098-3D67-4D57-859F-5D9D643F0801}" type="presParOf" srcId="{0ED62AF2-0CBA-43E8-B7C4-BF8B3C5C5FE2}" destId="{263204D0-D4EB-40AC-9225-3FD9901489B1}" srcOrd="0" destOrd="0" presId="urn:microsoft.com/office/officeart/2008/layout/NameandTitleOrganizationalChart"/>
    <dgm:cxn modelId="{91348E4C-779B-417E-9243-FA3C36827D99}" type="presParOf" srcId="{263204D0-D4EB-40AC-9225-3FD9901489B1}" destId="{263A6628-793E-479A-8B7F-3AC78DEF84F5}" srcOrd="0" destOrd="0" presId="urn:microsoft.com/office/officeart/2008/layout/NameandTitleOrganizationalChart"/>
    <dgm:cxn modelId="{395DF9F4-03C8-4CC5-921A-A7DADADF6C2F}" type="presParOf" srcId="{263204D0-D4EB-40AC-9225-3FD9901489B1}" destId="{A15986D1-3E81-451B-8C05-A6D048F8E015}" srcOrd="1" destOrd="0" presId="urn:microsoft.com/office/officeart/2008/layout/NameandTitleOrganizationalChart"/>
    <dgm:cxn modelId="{0213FFA5-EAE2-482E-9332-311E1BEDFEF7}" type="presParOf" srcId="{263204D0-D4EB-40AC-9225-3FD9901489B1}" destId="{6F8FF348-38A6-4A91-8669-F3E1DCE5A2CE}" srcOrd="2" destOrd="0" presId="urn:microsoft.com/office/officeart/2008/layout/NameandTitleOrganizationalChart"/>
    <dgm:cxn modelId="{C98EEFBA-82D5-4D48-A100-90B1D8E20940}" type="presParOf" srcId="{0ED62AF2-0CBA-43E8-B7C4-BF8B3C5C5FE2}" destId="{48DD4082-A293-4FF5-AB95-F465F7E632DE}" srcOrd="1" destOrd="0" presId="urn:microsoft.com/office/officeart/2008/layout/NameandTitleOrganizationalChart"/>
    <dgm:cxn modelId="{814EB695-2BFD-419E-8F06-1FD14C0CDD49}" type="presParOf" srcId="{0ED62AF2-0CBA-43E8-B7C4-BF8B3C5C5FE2}" destId="{ECFF4280-9C23-474F-A197-4245DFECC436}" srcOrd="2" destOrd="0" presId="urn:microsoft.com/office/officeart/2008/layout/NameandTitleOrganizationalChart"/>
    <dgm:cxn modelId="{48898AEE-41A7-4BB9-A602-811453D7A93C}" type="presParOf" srcId="{FF35E64A-6732-43F6-8971-4D75296F106D}" destId="{58D01422-6013-407B-A443-7205E577E983}" srcOrd="2" destOrd="0" presId="urn:microsoft.com/office/officeart/2008/layout/NameandTitleOrganizationalChart"/>
    <dgm:cxn modelId="{2D8A7DAD-43A4-424A-A75F-556B5B30504E}" type="presParOf" srcId="{FF35E64A-6732-43F6-8971-4D75296F106D}" destId="{359A5200-5C4D-4652-99A1-95C68116C779}" srcOrd="3" destOrd="0" presId="urn:microsoft.com/office/officeart/2008/layout/NameandTitleOrganizationalChart"/>
    <dgm:cxn modelId="{E9498884-7A91-456F-A4C1-16CDC92C75F7}" type="presParOf" srcId="{359A5200-5C4D-4652-99A1-95C68116C779}" destId="{869CC8AC-0D44-4EF0-8640-7677C3C5A48D}" srcOrd="0" destOrd="0" presId="urn:microsoft.com/office/officeart/2008/layout/NameandTitleOrganizationalChart"/>
    <dgm:cxn modelId="{A9BF252C-A2C0-4F81-B691-440D9F41868F}" type="presParOf" srcId="{869CC8AC-0D44-4EF0-8640-7677C3C5A48D}" destId="{434D0D9C-A3A7-4FAD-A9F7-5BEC8968D92F}" srcOrd="0" destOrd="0" presId="urn:microsoft.com/office/officeart/2008/layout/NameandTitleOrganizationalChart"/>
    <dgm:cxn modelId="{30C990A5-79AE-4490-AB1E-5EB5FCEBADB2}" type="presParOf" srcId="{869CC8AC-0D44-4EF0-8640-7677C3C5A48D}" destId="{33731B87-69BA-45A9-986B-5D9F7844F2A4}" srcOrd="1" destOrd="0" presId="urn:microsoft.com/office/officeart/2008/layout/NameandTitleOrganizationalChart"/>
    <dgm:cxn modelId="{E5362339-3581-42EE-80A0-CAB073A449B9}" type="presParOf" srcId="{869CC8AC-0D44-4EF0-8640-7677C3C5A48D}" destId="{2C316266-8CEF-47C2-829B-B57F84E6D0D8}" srcOrd="2" destOrd="0" presId="urn:microsoft.com/office/officeart/2008/layout/NameandTitleOrganizationalChart"/>
    <dgm:cxn modelId="{D2A6FC72-EDE0-4B2E-B711-EDE9AD7B25D6}" type="presParOf" srcId="{359A5200-5C4D-4652-99A1-95C68116C779}" destId="{BB55DC2B-E768-45AD-B521-2CB8DA931F26}" srcOrd="1" destOrd="0" presId="urn:microsoft.com/office/officeart/2008/layout/NameandTitleOrganizationalChart"/>
    <dgm:cxn modelId="{B6BDAB8F-0BF1-4CF9-A340-90ED84460BC7}" type="presParOf" srcId="{359A5200-5C4D-4652-99A1-95C68116C779}" destId="{C000B44C-EDE1-40CD-A739-F496710C68E0}" srcOrd="2" destOrd="0" presId="urn:microsoft.com/office/officeart/2008/layout/NameandTitleOrganizationalChart"/>
    <dgm:cxn modelId="{7CE70D83-B8D6-4BCB-B553-206B443AAFB6}" type="presParOf" srcId="{FF35E64A-6732-43F6-8971-4D75296F106D}" destId="{75018EE3-2685-4AD7-B68B-28E596755956}" srcOrd="4" destOrd="0" presId="urn:microsoft.com/office/officeart/2008/layout/NameandTitleOrganizationalChart"/>
    <dgm:cxn modelId="{CC1196C6-9C60-4763-B08F-C7377CA54CA1}" type="presParOf" srcId="{FF35E64A-6732-43F6-8971-4D75296F106D}" destId="{2D036172-102B-4594-85EE-979CE46ADD52}" srcOrd="5" destOrd="0" presId="urn:microsoft.com/office/officeart/2008/layout/NameandTitleOrganizationalChart"/>
    <dgm:cxn modelId="{A7BD27BB-88DF-4F89-BFFA-4E87E1E53775}" type="presParOf" srcId="{2D036172-102B-4594-85EE-979CE46ADD52}" destId="{EFE26D60-A20E-4FAD-8A11-7CF07D04E5AF}" srcOrd="0" destOrd="0" presId="urn:microsoft.com/office/officeart/2008/layout/NameandTitleOrganizationalChart"/>
    <dgm:cxn modelId="{291379BE-615B-46B6-B862-DC4342D48807}" type="presParOf" srcId="{EFE26D60-A20E-4FAD-8A11-7CF07D04E5AF}" destId="{72C856BE-2D9A-4365-9004-80DBD7AB7DEF}" srcOrd="0" destOrd="0" presId="urn:microsoft.com/office/officeart/2008/layout/NameandTitleOrganizationalChart"/>
    <dgm:cxn modelId="{C55088F3-F67D-4869-939D-0FCF169C61A1}" type="presParOf" srcId="{EFE26D60-A20E-4FAD-8A11-7CF07D04E5AF}" destId="{2B736DB7-CFF1-4B4B-BB39-2147C0ADC30C}" srcOrd="1" destOrd="0" presId="urn:microsoft.com/office/officeart/2008/layout/NameandTitleOrganizationalChart"/>
    <dgm:cxn modelId="{65F8F4A0-EE42-446C-8210-0C141DC35540}" type="presParOf" srcId="{EFE26D60-A20E-4FAD-8A11-7CF07D04E5AF}" destId="{ACF5ABA7-A7E9-4EC7-8106-EF1F20732836}" srcOrd="2" destOrd="0" presId="urn:microsoft.com/office/officeart/2008/layout/NameandTitleOrganizationalChart"/>
    <dgm:cxn modelId="{D0EF85A9-F87C-4586-B397-051743EBCCA3}" type="presParOf" srcId="{2D036172-102B-4594-85EE-979CE46ADD52}" destId="{3F034F85-07B2-4C3F-880A-C4B248F49201}" srcOrd="1" destOrd="0" presId="urn:microsoft.com/office/officeart/2008/layout/NameandTitleOrganizationalChart"/>
    <dgm:cxn modelId="{C5B6515D-93D5-4550-9E4E-CE633F73C3C0}" type="presParOf" srcId="{2D036172-102B-4594-85EE-979CE46ADD52}" destId="{1F23C4FB-AF89-4586-B86C-82CDC3D4C549}" srcOrd="2" destOrd="0" presId="urn:microsoft.com/office/officeart/2008/layout/NameandTitleOrganizationalChart"/>
    <dgm:cxn modelId="{818FFCA6-2A68-43AA-9F3A-179F4A7207DB}" type="presParOf" srcId="{A59E08E4-3AE9-4AB5-98C5-CFB97CA6FEF2}" destId="{EDEF4EA3-0187-448D-948B-D6F0BC21EF41}" srcOrd="2" destOrd="0" presId="urn:microsoft.com/office/officeart/2008/layout/NameandTitleOrganizationalChart"/>
    <dgm:cxn modelId="{9CA8DF55-EC50-476C-B385-5CEA760E63FA}" type="presParOf" srcId="{0D9E455D-0C5C-4D83-B66C-82BCDE771020}" destId="{A088164F-BBDD-4A70-B3F2-B95E2CB6023C}" srcOrd="2" destOrd="0" presId="urn:microsoft.com/office/officeart/2008/layout/NameandTitleOrganizationalChart"/>
    <dgm:cxn modelId="{9F645267-1192-4385-928B-3C20D6E39F41}" type="presParOf" srcId="{0D9E455D-0C5C-4D83-B66C-82BCDE771020}" destId="{14ACFC41-564A-4658-BCA0-CD6D72F1A869}" srcOrd="3" destOrd="0" presId="urn:microsoft.com/office/officeart/2008/layout/NameandTitleOrganizationalChart"/>
    <dgm:cxn modelId="{FA62E091-AA72-4BF0-9703-5978E6D3F5DA}" type="presParOf" srcId="{14ACFC41-564A-4658-BCA0-CD6D72F1A869}" destId="{F3BDB92E-3E7D-4264-AEB9-41F51ABE0C45}" srcOrd="0" destOrd="0" presId="urn:microsoft.com/office/officeart/2008/layout/NameandTitleOrganizationalChart"/>
    <dgm:cxn modelId="{084F816E-3A8A-4993-A1A4-D3EF524A07F0}" type="presParOf" srcId="{F3BDB92E-3E7D-4264-AEB9-41F51ABE0C45}" destId="{F9B7945E-6559-40C4-9C22-D082927DE84F}" srcOrd="0" destOrd="0" presId="urn:microsoft.com/office/officeart/2008/layout/NameandTitleOrganizationalChart"/>
    <dgm:cxn modelId="{CD11CB8F-3F8E-424C-8C17-4660BDECB8E4}" type="presParOf" srcId="{F3BDB92E-3E7D-4264-AEB9-41F51ABE0C45}" destId="{02AB8A45-6B0D-40D4-BBBA-E3DFC7C85826}" srcOrd="1" destOrd="0" presId="urn:microsoft.com/office/officeart/2008/layout/NameandTitleOrganizationalChart"/>
    <dgm:cxn modelId="{F3D260FB-CCC7-4B78-B487-8C0AD22FD712}" type="presParOf" srcId="{F3BDB92E-3E7D-4264-AEB9-41F51ABE0C45}" destId="{C4AAB600-7BA4-4F02-A8AD-D309D5575B23}" srcOrd="2" destOrd="0" presId="urn:microsoft.com/office/officeart/2008/layout/NameandTitleOrganizationalChart"/>
    <dgm:cxn modelId="{E304A14E-AB18-4652-AB26-FD7299764230}" type="presParOf" srcId="{14ACFC41-564A-4658-BCA0-CD6D72F1A869}" destId="{AD3EB04D-52F7-4DEA-B352-5D1B2569B77A}" srcOrd="1" destOrd="0" presId="urn:microsoft.com/office/officeart/2008/layout/NameandTitleOrganizationalChart"/>
    <dgm:cxn modelId="{ED1558CF-3D64-4CEE-A779-1F6BE89D45D6}" type="presParOf" srcId="{AD3EB04D-52F7-4DEA-B352-5D1B2569B77A}" destId="{18BE466B-60A0-445A-9265-6D88F4CC60F2}" srcOrd="0" destOrd="0" presId="urn:microsoft.com/office/officeart/2008/layout/NameandTitleOrganizationalChart"/>
    <dgm:cxn modelId="{0ED16ED2-6870-493B-B198-262D607F2D7C}" type="presParOf" srcId="{AD3EB04D-52F7-4DEA-B352-5D1B2569B77A}" destId="{F5395EEE-7070-44AB-8781-8403CCA43683}" srcOrd="1" destOrd="0" presId="urn:microsoft.com/office/officeart/2008/layout/NameandTitleOrganizationalChart"/>
    <dgm:cxn modelId="{DE48B43E-29E2-4049-AF98-194F22554657}" type="presParOf" srcId="{F5395EEE-7070-44AB-8781-8403CCA43683}" destId="{F4E226A1-88A9-4C10-AC2A-C16148D9B93E}" srcOrd="0" destOrd="0" presId="urn:microsoft.com/office/officeart/2008/layout/NameandTitleOrganizationalChart"/>
    <dgm:cxn modelId="{93DC7E62-C5CA-498A-BD70-A9630C182897}" type="presParOf" srcId="{F4E226A1-88A9-4C10-AC2A-C16148D9B93E}" destId="{C6B5BD8E-FFDF-4DCD-88F4-2E0F3204F1F6}" srcOrd="0" destOrd="0" presId="urn:microsoft.com/office/officeart/2008/layout/NameandTitleOrganizationalChart"/>
    <dgm:cxn modelId="{04A70FA0-1079-4E40-8613-B8751DD605E8}" type="presParOf" srcId="{F4E226A1-88A9-4C10-AC2A-C16148D9B93E}" destId="{7637C753-2FA1-4ACA-8529-478E1C32925B}" srcOrd="1" destOrd="0" presId="urn:microsoft.com/office/officeart/2008/layout/NameandTitleOrganizationalChart"/>
    <dgm:cxn modelId="{E8FFEE36-DD2C-4145-84B1-70981FA4A817}" type="presParOf" srcId="{F4E226A1-88A9-4C10-AC2A-C16148D9B93E}" destId="{7FBC5621-0415-4E19-9469-371BA686B416}" srcOrd="2" destOrd="0" presId="urn:microsoft.com/office/officeart/2008/layout/NameandTitleOrganizationalChart"/>
    <dgm:cxn modelId="{69D725C3-0A90-418E-BA69-01F9733BA9AE}" type="presParOf" srcId="{F5395EEE-7070-44AB-8781-8403CCA43683}" destId="{02AA16E9-E2A7-4977-8C5F-01ECD747FFAA}" srcOrd="1" destOrd="0" presId="urn:microsoft.com/office/officeart/2008/layout/NameandTitleOrganizationalChart"/>
    <dgm:cxn modelId="{BC31065C-6222-4587-93CF-D9BB1F179B5D}" type="presParOf" srcId="{F5395EEE-7070-44AB-8781-8403CCA43683}" destId="{E487B9F6-182B-4E28-9D55-C1CCB42ACB52}" srcOrd="2" destOrd="0" presId="urn:microsoft.com/office/officeart/2008/layout/NameandTitleOrganizationalChart"/>
    <dgm:cxn modelId="{E2C763ED-7F87-4D5B-971F-1B3CD20C305B}" type="presParOf" srcId="{14ACFC41-564A-4658-BCA0-CD6D72F1A869}" destId="{B20859A8-52E8-4E94-9D23-8B9FB0E19202}" srcOrd="2" destOrd="0" presId="urn:microsoft.com/office/officeart/2008/layout/NameandTitleOrganizationalChart"/>
    <dgm:cxn modelId="{D9902169-3111-4D05-B683-647BE9628F14}" type="presParOf" srcId="{953FE53D-C701-47CD-A1EC-C2F9DE8AD05B}" destId="{5724A575-D1E5-4E0D-83F2-68CCBEB49037}" srcOrd="2" destOrd="0" presId="urn:microsoft.com/office/officeart/2008/layout/NameandTitleOrganizationalChar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8/layout/NameandTitleOrganizationalChart">
  <dgm:title val=""/>
  <dgm:desc val=""/>
  <dgm:catLst>
    <dgm:cat type="hierarchy" pri="125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 fact="0.9"/>
                  <dgm:constr type="l" for="ch" forName="titleText1" refType="w" fact="0.2"/>
                  <dgm:constr type="t" for="ch" forName="titleText1" refType="h" fact="0.7"/>
                  <dgm:constr type="w" for="ch" forName="titleText1" refType="w" fact="0.9"/>
                  <dgm:constr type="h" for="ch" forName="titleText1" refType="h" fact="0.3"/>
                  <dgm:constr type="primFontSz" for="des" forName="titleText1" refType="primFontSz" refFor="des" refForName="rootText1" op="lte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Max/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h" fact="0.4"/>
              </dgm:constrLst>
              <dgm:ruleLst>
                <dgm:rule type="primFontSz" val="5" fact="NaN" max="NaN"/>
              </dgm:ruleLst>
            </dgm:layoutNode>
            <dgm:layoutNode name="titleText1" styleLbl="fgAcc0">
              <dgm:varLst>
                <dgm:chMax val="0"/>
                <dgm:chPref val="0"/>
              </dgm:varLst>
              <dgm:alg type="tx">
                <dgm:param type="parTxLTRAlign" val="r"/>
              </dgm:alg>
              <dgm:shape xmlns:r="http://schemas.openxmlformats.org/officeDocument/2006/relationships" type="rect" r:blip="">
                <dgm:adjLst/>
              </dgm:shape>
              <dgm:presOf axis="followSib" ptType="sibTrans" hideLastTrans="0" cnt="1"/>
              <dgm:constrLst>
                <dgm:constr type="primFontSz" val="65"/>
                <dgm:constr type="lMarg" refType="primFontSz" fact="0.2"/>
                <dgm:constr type="rMarg" refType="primFontSz" fact="0.2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1" func="var" arg="hierBranch" op="equ" val="hang">
                    <dgm:layoutNode name="Name42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3">
                    <dgm:layoutNode name="Name44">
                      <dgm:choose name="Name45">
                        <dgm:if name="Name46" axis="self" func="depth" op="lte" val="2">
                          <dgm:choose name="Name47">
                            <dgm:if name="Name4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4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0">
                          <dgm:choose name="Name51">
                            <dgm:if name="Name52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3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54">
                  <dgm:if name="Name55" func="var" arg="hierBranch" op="equ" val="l">
                    <dgm:choose name="Name56">
                      <dgm:if name="Name57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58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59" func="var" arg="hierBranch" op="equ" val="r">
                    <dgm:choose name="Name60">
                      <dgm:if name="Name61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2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3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64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65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66">
                    <dgm:if name="Name67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8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69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70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 fact="0.9"/>
                        <dgm:constr type="l" for="ch" forName="titleText2" refType="w" fact="0.2"/>
                        <dgm:constr type="t" for="ch" forName="titleText2" refType="h" fact="0.7"/>
                        <dgm:constr type="w" for="ch" forName="titleText2" refType="w" fact="0.9"/>
                        <dgm:constr type="h" for="ch" forName="titleText2" refType="h" fact="0.3"/>
                        <dgm:constr type="primFontSz" for="des" forName="titleText2" refType="primFontSz" refFor="des" refForName="rootText1" op="lte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 styleLbl="node1">
                    <dgm:varLst>
                      <dgm:chMax/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2" styleLbl="fgAcc1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71">
                    <dgm:if name="Name72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73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74" func="var" arg="hierBranch" op="equ" val="hang">
                      <dgm:choose name="Name75">
                        <dgm:if name="Name76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77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78" func="var" arg="hierBranch" op="equ" val="std">
                      <dgm:choose name="Name79">
                        <dgm:if name="Name80" func="var" arg="dir" op="equ" val="norm">
                          <dgm:alg type="hierChild"/>
                        </dgm:if>
                        <dgm:else name="Name81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82" func="var" arg="hierBranch" op="equ" val="init">
                      <dgm:choose name="Name83">
                        <dgm:if name="Name84" func="var" arg="dir" op="equ" val="norm">
                          <dgm:alg type="hierChild"/>
                        </dgm:if>
                        <dgm:else name="Name85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else name="Name86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87" ref="rep2a"/>
                </dgm:layoutNode>
                <dgm:layoutNode name="hierChild5">
                  <dgm:choose name="Name88">
                    <dgm:if name="Name89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90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91" ref="rep2b"/>
                </dgm:layoutNode>
              </dgm:layoutNode>
            </dgm:forEach>
          </dgm:layoutNode>
          <dgm:layoutNode name="hierChild3">
            <dgm:choose name="Name92">
              <dgm:if name="Name93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94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95" axis="precedSib" ptType="parTrans" st="-1" cnt="1">
                <dgm:layoutNode name="Name96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97">
                  <dgm:if name="Name98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99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0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01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02" func="var" arg="hierBranch" op="equ" val="init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else name="Name103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04">
                    <dgm:if name="Name105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6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07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08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 fact="0.9"/>
                        <dgm:constr type="l" for="ch" forName="titleText3" refType="w" fact="0.2"/>
                        <dgm:constr type="t" for="ch" forName="titleText3" refType="h" fact="0.7"/>
                        <dgm:constr type="w" for="ch" forName="titleText3" refType="w" fact="0.9"/>
                        <dgm:constr type="h" for="ch" forName="titleText3" refType="h" fact="0.3"/>
                        <dgm:constr type="primFontSz" for="des" forName="titleText3" refType="primFontSz" refFor="des" refForName="rootText3" op="lte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 styleLbl="asst1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h" fact="0.4"/>
                    </dgm:constrLst>
                    <dgm:ruleLst>
                      <dgm:rule type="primFontSz" val="5" fact="NaN" max="NaN"/>
                    </dgm:ruleLst>
                  </dgm:layoutNode>
                  <dgm:layoutNode name="titleText3" styleLbl="fgAcc2">
                    <dgm:varLst>
                      <dgm:chMax val="0"/>
                      <dgm:chPref val="0"/>
                    </dgm:varLst>
                    <dgm:alg type="tx">
                      <dgm:param type="parTxLTRAlign" val="r"/>
                    </dgm:alg>
                    <dgm:shape xmlns:r="http://schemas.openxmlformats.org/officeDocument/2006/relationships" type="rect" r:blip="">
                      <dgm:adjLst/>
                    </dgm:shape>
                    <dgm:presOf axis="followSib" ptType="sibTrans" hideLastTrans="0" cnt="1"/>
                    <dgm:constrLst>
                      <dgm:constr type="primFontSz" val="65"/>
                      <dgm:constr type="lMarg" refType="primFontSz" fact="0.2"/>
                      <dgm:constr type="rMarg" refType="primFontSz" fact="0.2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09">
                    <dgm:if name="Name110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11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12" func="var" arg="hierBranch" op="equ" val="hang">
                      <dgm:choose name="Name113">
                        <dgm:if name="Name114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15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16" func="var" arg="hierBranch" op="equ" val="std">
                      <dgm:choose name="Name117">
                        <dgm:if name="Name118" func="var" arg="dir" op="equ" val="norm">
                          <dgm:alg type="hierChild"/>
                        </dgm:if>
                        <dgm:else name="Name119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20" func="var" arg="hierBranch" op="equ" val="init">
                      <dgm:alg type="hierChild"/>
                    </dgm:if>
                    <dgm:else name="Name12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2" ref="rep2a"/>
                </dgm:layoutNode>
                <dgm:layoutNode name="hierChild7">
                  <dgm:choose name="Name123">
                    <dgm:if name="Name12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2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26" ref="rep2b"/>
                </dgm:layoutNode>
              </dgm:layoutNode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A5FBA0B1-8B5E-6C42-BD6E-E01ECCB0DC63}" type="datetimeFigureOut">
              <a:rPr lang="en-US" smtClean="0"/>
              <a:t>3/24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0B4F169B-D4BC-2D47-B1AD-909F43E50BA5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69476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643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90666F0F-F449-CC4B-B881-E7F614156AC6}" type="datetimeFigureOut">
              <a:rPr lang="en-US" smtClean="0"/>
              <a:t>3/24/2021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5300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73892"/>
            <a:ext cx="5608320" cy="3660458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6433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1F9BAFD-0AFE-FC47-B839-C833EEBF7ECA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9455904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31774">
              <a:defRPr/>
            </a:pPr>
            <a:endParaRPr lang="en-US" dirty="0" smtClean="0">
              <a:solidFill>
                <a:schemeClr val="bg1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190712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38484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117782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5659322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991390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141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067506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221511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1F9BAFD-0AFE-FC47-B839-C833EEBF7ECA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401695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29706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6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=""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=""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03169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=""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=""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=""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=""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=""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=""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=""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965103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52575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=""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=""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=""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=""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=""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=""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=""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493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=""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=""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=""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=""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=""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=""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=""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=""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=""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=""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169904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62877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35823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9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=""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</a:t>
            </a:r>
            <a:r>
              <a:rPr lang="en-US" dirty="0" smtClean="0"/>
              <a:t>STYLES</a:t>
            </a:r>
            <a:endParaRPr lang="en-US" dirty="0"/>
          </a:p>
        </p:txBody>
      </p:sp>
      <p:sp>
        <p:nvSpPr>
          <p:cNvPr id="5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64397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=""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=""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430430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537417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=""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42002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=""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52924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=""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406723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0892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364751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9383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1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16720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=""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=""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=""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33748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24417" y="2276872"/>
            <a:ext cx="10363200" cy="3687366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13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1474451" y="5661026"/>
            <a:ext cx="478367" cy="288925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A355639-237A-43CE-A362-EAB3AF430A84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97893357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411270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7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=""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=""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40429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62878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=""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=""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=""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=""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=""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=""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=""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=""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=""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68125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=""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=""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=""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=""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=""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59221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=""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=""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80930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=""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694477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=""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=""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=""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3069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=""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=""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=""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=""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=""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=""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=""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=""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=""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=""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=""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=""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3111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33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2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05918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3" name="think-cell Slide" r:id="rId28" imgW="473" imgH="473" progId="TCLayout.ActiveDocument.1">
                  <p:embed/>
                </p:oleObj>
              </mc:Choice>
              <mc:Fallback>
                <p:oleObj name="think-cell Slide" r:id="rId28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=""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=""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0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=""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5854" y="136042"/>
            <a:ext cx="1392143" cy="4148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177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73" r:id="rId3"/>
    <p:sldLayoutId id="2147483674" r:id="rId4"/>
    <p:sldLayoutId id="2147483672" r:id="rId5"/>
    <p:sldLayoutId id="2147483652" r:id="rId6"/>
    <p:sldLayoutId id="2147483653" r:id="rId7"/>
    <p:sldLayoutId id="2147483660" r:id="rId8"/>
    <p:sldLayoutId id="2147483661" r:id="rId9"/>
    <p:sldLayoutId id="2147483662" r:id="rId10"/>
    <p:sldLayoutId id="2147483665" r:id="rId11"/>
    <p:sldLayoutId id="2147483666" r:id="rId12"/>
    <p:sldLayoutId id="2147483667" r:id="rId13"/>
    <p:sldLayoutId id="2147483654" r:id="rId14"/>
    <p:sldLayoutId id="2147483655" r:id="rId15"/>
    <p:sldLayoutId id="2147483656" r:id="rId16"/>
    <p:sldLayoutId id="2147483663" r:id="rId17"/>
    <p:sldLayoutId id="2147483664" r:id="rId18"/>
    <p:sldLayoutId id="2147483668" r:id="rId19"/>
    <p:sldLayoutId id="2147483669" r:id="rId20"/>
    <p:sldLayoutId id="2147483670" r:id="rId21"/>
    <p:sldLayoutId id="2147483657" r:id="rId22"/>
    <p:sldLayoutId id="2147483671" r:id="rId23"/>
    <p:sldLayoutId id="2147483680" r:id="rId2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7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cpedia.gc.ca/wiki/GCWorkplace_Change_Management_Playbook" TargetMode="External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www.gcpedia.gc.ca/gcwiki/images/f/f4/Tool_5_-Sponsorship_assessment.xlsx" TargetMode="External"/><Relationship Id="rId1" Type="http://schemas.openxmlformats.org/officeDocument/2006/relationships/slideLayout" Target="../slideLayouts/slideLayout1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gcpedia.gc.ca/wiki/GCWorkplace_Change_Management_Playbook" TargetMode="Externa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8.xml"/><Relationship Id="rId4" Type="http://schemas.openxmlformats.org/officeDocument/2006/relationships/image" Target="../media/image7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.xml"/><Relationship Id="rId7" Type="http://schemas.openxmlformats.org/officeDocument/2006/relationships/hyperlink" Target="https://www.gcpedia.gc.ca/wiki/GCWorkplace_Change_Management_Playbook" TargetMode="Externa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hyperlink" Target="https://www.gcpedia.gc.ca/gcwiki/images/9/98/Tool_4_-_Stakeholder_map_model.docx" TargetMode="External"/><Relationship Id="rId5" Type="http://schemas.openxmlformats.org/officeDocument/2006/relationships/image" Target="../media/image9.png"/><Relationship Id="rId4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On the foreground, a woman wearing an orange sweater is laughing in a work setting, in the blurry background we can see her other coworkers interacting." title="Photo of a woman laughing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33" y="0"/>
            <a:ext cx="12189212" cy="6867848"/>
          </a:xfrm>
          <a:prstGeom prst="rect">
            <a:avLst/>
          </a:prstGeom>
        </p:spPr>
      </p:pic>
      <p:sp>
        <p:nvSpPr>
          <p:cNvPr id="8" name="Rectangle 7" descr="Gray background square" title="Gray square"/>
          <p:cNvSpPr/>
          <p:nvPr/>
        </p:nvSpPr>
        <p:spPr>
          <a:xfrm>
            <a:off x="-3" y="0"/>
            <a:ext cx="5852163" cy="6867848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5000"/>
                </a:schemeClr>
              </a:gs>
              <a:gs pos="24000">
                <a:schemeClr val="tx1">
                  <a:alpha val="59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9" name="Rectangle 8" descr="White rectangle" title="White rectangle"/>
          <p:cNvSpPr/>
          <p:nvPr/>
        </p:nvSpPr>
        <p:spPr>
          <a:xfrm>
            <a:off x="-2" y="6130345"/>
            <a:ext cx="12192002" cy="73750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pic>
        <p:nvPicPr>
          <p:cNvPr id="13" name="Picture 12" descr="An upside-down green and blue v is to the left of a &quot;GCworkplace&quot; text." title="GCworkplace small visual identity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3399" y="306123"/>
            <a:ext cx="2316367" cy="646913"/>
          </a:xfrm>
          <a:prstGeom prst="rect">
            <a:avLst/>
          </a:prstGeom>
        </p:spPr>
      </p:pic>
      <p:pic>
        <p:nvPicPr>
          <p:cNvPr id="14" name="Picture 13" descr="Image result for canada wordmark">
            <a:hlinkClick r:id="rId5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2888" y="6396331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17" name="Picture 16" descr="The red and white maple leaf canadian flag, to its right you can read Governement of Canada and Gouvernement du Canada." title="Corporate identity of the Government of Canada">
            <a:extLst>
              <a:ext uri="{FF2B5EF4-FFF2-40B4-BE49-F238E27FC236}">
                <a16:creationId xmlns:a16="http://schemas.microsoft.com/office/drawing/2014/main" xmlns="" id="{89CA9733-78EF-5F49-81C1-064DE89D5260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5681" y="6374997"/>
            <a:ext cx="2036645" cy="25066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1882" y="1392382"/>
            <a:ext cx="5340277" cy="2889321"/>
          </a:xfrm>
        </p:spPr>
        <p:txBody>
          <a:bodyPr>
            <a:normAutofit fontScale="90000"/>
          </a:bodyPr>
          <a:lstStyle/>
          <a:p>
            <a:r>
              <a:rPr lang="en-CA" dirty="0" smtClean="0">
                <a:solidFill>
                  <a:schemeClr val="bg1"/>
                </a:solidFill>
              </a:rPr>
              <a:t>Guide to assessing the sponsor and champions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8" name="Subtitle 2"/>
          <p:cNvSpPr txBox="1">
            <a:spLocks/>
          </p:cNvSpPr>
          <p:nvPr/>
        </p:nvSpPr>
        <p:spPr>
          <a:xfrm>
            <a:off x="602178" y="4484642"/>
            <a:ext cx="3286776" cy="67835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4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ts val="24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CA" sz="1600" dirty="0" smtClean="0">
                <a:solidFill>
                  <a:schemeClr val="accent2"/>
                </a:solidFill>
              </a:rPr>
              <a:t>To be used by the workplace modernization change manager</a:t>
            </a:r>
            <a:endParaRPr lang="en-US" sz="1600" dirty="0">
              <a:solidFill>
                <a:schemeClr val="accent2"/>
              </a:solidFill>
            </a:endParaRP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63399" y="5498656"/>
            <a:ext cx="3494087" cy="526957"/>
          </a:xfrm>
        </p:spPr>
        <p:txBody>
          <a:bodyPr/>
          <a:lstStyle/>
          <a:p>
            <a:r>
              <a:rPr lang="en-CA" dirty="0" smtClean="0">
                <a:solidFill>
                  <a:schemeClr val="bg1"/>
                </a:solidFill>
              </a:rPr>
              <a:t>Date: TBD</a:t>
            </a:r>
            <a:endParaRPr lang="en-CA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16057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4"/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Identify… </a:t>
            </a:r>
            <a:r>
              <a:rPr lang="en-US" dirty="0" smtClean="0"/>
              <a:t>the champions</a:t>
            </a:r>
            <a:endParaRPr lang="en-CA" dirty="0"/>
          </a:p>
        </p:txBody>
      </p:sp>
      <p:sp>
        <p:nvSpPr>
          <p:cNvPr id="14" name="Freeform 13" descr="AngleDoubleRight Icon"/>
          <p:cNvSpPr>
            <a:spLocks noEditPoints="1"/>
          </p:cNvSpPr>
          <p:nvPr/>
        </p:nvSpPr>
        <p:spPr bwMode="auto">
          <a:xfrm>
            <a:off x="613485" y="1553609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graphicFrame>
        <p:nvGraphicFramePr>
          <p:cNvPr id="16" name="Table 15" title="green box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5471599"/>
              </p:ext>
            </p:extLst>
          </p:nvPr>
        </p:nvGraphicFramePr>
        <p:xfrm>
          <a:off x="1260839" y="1529812"/>
          <a:ext cx="4414685" cy="10175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14685"/>
              </a:tblGrid>
              <a:tr h="1017566">
                <a:tc>
                  <a:txBody>
                    <a:bodyPr/>
                    <a:lstStyle/>
                    <a:p>
                      <a:pPr marL="342900" lvl="0" indent="-342900">
                        <a:buFont typeface="+mj-lt"/>
                        <a:buAutoNum type="arabicPeriod" startAt="6"/>
                        <a:defRPr/>
                      </a:pPr>
                      <a:r>
                        <a:rPr lang="en-US" dirty="0" smtClean="0"/>
                        <a:t>On the “</a:t>
                      </a:r>
                      <a:r>
                        <a:rPr lang="en-US" b="1" dirty="0" smtClean="0"/>
                        <a:t>Assess</a:t>
                      </a:r>
                      <a:r>
                        <a:rPr lang="en-US" b="1" baseline="0" dirty="0" smtClean="0"/>
                        <a:t> the champions</a:t>
                      </a:r>
                      <a:r>
                        <a:rPr lang="en-US" baseline="0" dirty="0" smtClean="0"/>
                        <a:t>”</a:t>
                      </a: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US" dirty="0" smtClean="0"/>
                        <a:t>tab, input the name of the champion in </a:t>
                      </a: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US" baseline="0" dirty="0" smtClean="0">
                          <a:solidFill>
                            <a:schemeClr val="tx1"/>
                          </a:solidFill>
                        </a:rPr>
                        <a:t> “B”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for each i</a:t>
                      </a:r>
                      <a:r>
                        <a:rPr lang="en-US" b="0" dirty="0" smtClean="0"/>
                        <a:t>mpacted group</a:t>
                      </a:r>
                      <a:r>
                        <a:rPr lang="en-US" b="0" baseline="0" dirty="0" smtClean="0"/>
                        <a:t>.</a:t>
                      </a:r>
                      <a:endParaRPr lang="en-CA" b="0" dirty="0" smtClean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Freeform 11" descr="green arrow linking the text on the right to the image on the left" title="green arrow"/>
          <p:cNvSpPr>
            <a:spLocks/>
          </p:cNvSpPr>
          <p:nvPr/>
        </p:nvSpPr>
        <p:spPr bwMode="auto">
          <a:xfrm rot="14261012">
            <a:off x="5720823" y="1744380"/>
            <a:ext cx="481610" cy="614221"/>
          </a:xfrm>
          <a:custGeom>
            <a:avLst/>
            <a:gdLst>
              <a:gd name="T0" fmla="*/ 492 w 600"/>
              <a:gd name="T1" fmla="*/ 0 h 1115"/>
              <a:gd name="T2" fmla="*/ 489 w 600"/>
              <a:gd name="T3" fmla="*/ 169 h 1115"/>
              <a:gd name="T4" fmla="*/ 452 w 600"/>
              <a:gd name="T5" fmla="*/ 254 h 1115"/>
              <a:gd name="T6" fmla="*/ 446 w 600"/>
              <a:gd name="T7" fmla="*/ 265 h 1115"/>
              <a:gd name="T8" fmla="*/ 143 w 600"/>
              <a:gd name="T9" fmla="*/ 930 h 1115"/>
              <a:gd name="T10" fmla="*/ 210 w 600"/>
              <a:gd name="T11" fmla="*/ 874 h 1115"/>
              <a:gd name="T12" fmla="*/ 364 w 600"/>
              <a:gd name="T13" fmla="*/ 769 h 1115"/>
              <a:gd name="T14" fmla="*/ 390 w 600"/>
              <a:gd name="T15" fmla="*/ 807 h 1115"/>
              <a:gd name="T16" fmla="*/ 387 w 600"/>
              <a:gd name="T17" fmla="*/ 813 h 1115"/>
              <a:gd name="T18" fmla="*/ 256 w 600"/>
              <a:gd name="T19" fmla="*/ 915 h 1115"/>
              <a:gd name="T20" fmla="*/ 259 w 600"/>
              <a:gd name="T21" fmla="*/ 924 h 1115"/>
              <a:gd name="T22" fmla="*/ 247 w 600"/>
              <a:gd name="T23" fmla="*/ 941 h 1115"/>
              <a:gd name="T24" fmla="*/ 207 w 600"/>
              <a:gd name="T25" fmla="*/ 979 h 1115"/>
              <a:gd name="T26" fmla="*/ 58 w 600"/>
              <a:gd name="T27" fmla="*/ 1108 h 1115"/>
              <a:gd name="T28" fmla="*/ 0 w 600"/>
              <a:gd name="T29" fmla="*/ 1081 h 1115"/>
              <a:gd name="T30" fmla="*/ 41 w 600"/>
              <a:gd name="T31" fmla="*/ 1038 h 1115"/>
              <a:gd name="T32" fmla="*/ 23 w 600"/>
              <a:gd name="T33" fmla="*/ 927 h 1115"/>
              <a:gd name="T34" fmla="*/ 35 w 600"/>
              <a:gd name="T35" fmla="*/ 909 h 1115"/>
              <a:gd name="T36" fmla="*/ 26 w 600"/>
              <a:gd name="T37" fmla="*/ 667 h 1115"/>
              <a:gd name="T38" fmla="*/ 90 w 600"/>
              <a:gd name="T39" fmla="*/ 909 h 1115"/>
              <a:gd name="T40" fmla="*/ 145 w 600"/>
              <a:gd name="T41" fmla="*/ 799 h 1115"/>
              <a:gd name="T42" fmla="*/ 169 w 600"/>
              <a:gd name="T43" fmla="*/ 772 h 1115"/>
              <a:gd name="T44" fmla="*/ 180 w 600"/>
              <a:gd name="T45" fmla="*/ 737 h 1115"/>
              <a:gd name="T46" fmla="*/ 204 w 600"/>
              <a:gd name="T47" fmla="*/ 702 h 1115"/>
              <a:gd name="T48" fmla="*/ 210 w 600"/>
              <a:gd name="T49" fmla="*/ 670 h 1115"/>
              <a:gd name="T50" fmla="*/ 224 w 600"/>
              <a:gd name="T51" fmla="*/ 665 h 1115"/>
              <a:gd name="T52" fmla="*/ 215 w 600"/>
              <a:gd name="T53" fmla="*/ 665 h 1115"/>
              <a:gd name="T54" fmla="*/ 230 w 600"/>
              <a:gd name="T55" fmla="*/ 647 h 1115"/>
              <a:gd name="T56" fmla="*/ 230 w 600"/>
              <a:gd name="T57" fmla="*/ 627 h 1115"/>
              <a:gd name="T58" fmla="*/ 239 w 600"/>
              <a:gd name="T59" fmla="*/ 627 h 1115"/>
              <a:gd name="T60" fmla="*/ 236 w 600"/>
              <a:gd name="T61" fmla="*/ 615 h 1115"/>
              <a:gd name="T62" fmla="*/ 239 w 600"/>
              <a:gd name="T63" fmla="*/ 621 h 1115"/>
              <a:gd name="T64" fmla="*/ 242 w 600"/>
              <a:gd name="T65" fmla="*/ 597 h 1115"/>
              <a:gd name="T66" fmla="*/ 259 w 600"/>
              <a:gd name="T67" fmla="*/ 577 h 1115"/>
              <a:gd name="T68" fmla="*/ 262 w 600"/>
              <a:gd name="T69" fmla="*/ 554 h 1115"/>
              <a:gd name="T70" fmla="*/ 277 w 600"/>
              <a:gd name="T71" fmla="*/ 536 h 1115"/>
              <a:gd name="T72" fmla="*/ 282 w 600"/>
              <a:gd name="T73" fmla="*/ 525 h 1115"/>
              <a:gd name="T74" fmla="*/ 303 w 600"/>
              <a:gd name="T75" fmla="*/ 472 h 1115"/>
              <a:gd name="T76" fmla="*/ 320 w 600"/>
              <a:gd name="T77" fmla="*/ 449 h 1115"/>
              <a:gd name="T78" fmla="*/ 352 w 600"/>
              <a:gd name="T79" fmla="*/ 350 h 1115"/>
              <a:gd name="T80" fmla="*/ 370 w 600"/>
              <a:gd name="T81" fmla="*/ 332 h 1115"/>
              <a:gd name="T82" fmla="*/ 385 w 600"/>
              <a:gd name="T83" fmla="*/ 283 h 1115"/>
              <a:gd name="T84" fmla="*/ 472 w 600"/>
              <a:gd name="T85" fmla="*/ 67 h 1115"/>
              <a:gd name="T86" fmla="*/ 492 w 600"/>
              <a:gd name="T87" fmla="*/ 0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0" h="1115">
                <a:moveTo>
                  <a:pt x="492" y="0"/>
                </a:moveTo>
                <a:cubicBezTo>
                  <a:pt x="600" y="3"/>
                  <a:pt x="508" y="123"/>
                  <a:pt x="489" y="169"/>
                </a:cubicBezTo>
                <a:cubicBezTo>
                  <a:pt x="478" y="199"/>
                  <a:pt x="468" y="228"/>
                  <a:pt x="452" y="254"/>
                </a:cubicBezTo>
                <a:cubicBezTo>
                  <a:pt x="451" y="255"/>
                  <a:pt x="446" y="264"/>
                  <a:pt x="446" y="265"/>
                </a:cubicBezTo>
                <a:cubicBezTo>
                  <a:pt x="360" y="478"/>
                  <a:pt x="239" y="724"/>
                  <a:pt x="143" y="930"/>
                </a:cubicBezTo>
                <a:cubicBezTo>
                  <a:pt x="171" y="911"/>
                  <a:pt x="177" y="886"/>
                  <a:pt x="210" y="874"/>
                </a:cubicBezTo>
                <a:cubicBezTo>
                  <a:pt x="251" y="829"/>
                  <a:pt x="291" y="783"/>
                  <a:pt x="364" y="769"/>
                </a:cubicBezTo>
                <a:cubicBezTo>
                  <a:pt x="376" y="779"/>
                  <a:pt x="394" y="782"/>
                  <a:pt x="390" y="807"/>
                </a:cubicBezTo>
                <a:cubicBezTo>
                  <a:pt x="388" y="808"/>
                  <a:pt x="388" y="811"/>
                  <a:pt x="387" y="813"/>
                </a:cubicBezTo>
                <a:cubicBezTo>
                  <a:pt x="335" y="837"/>
                  <a:pt x="285" y="878"/>
                  <a:pt x="256" y="915"/>
                </a:cubicBezTo>
                <a:cubicBezTo>
                  <a:pt x="250" y="914"/>
                  <a:pt x="257" y="924"/>
                  <a:pt x="259" y="924"/>
                </a:cubicBezTo>
                <a:cubicBezTo>
                  <a:pt x="258" y="931"/>
                  <a:pt x="241" y="937"/>
                  <a:pt x="247" y="941"/>
                </a:cubicBezTo>
                <a:cubicBezTo>
                  <a:pt x="238" y="947"/>
                  <a:pt x="207" y="949"/>
                  <a:pt x="207" y="979"/>
                </a:cubicBezTo>
                <a:cubicBezTo>
                  <a:pt x="162" y="991"/>
                  <a:pt x="106" y="1089"/>
                  <a:pt x="58" y="1108"/>
                </a:cubicBezTo>
                <a:cubicBezTo>
                  <a:pt x="39" y="1115"/>
                  <a:pt x="5" y="1104"/>
                  <a:pt x="0" y="1081"/>
                </a:cubicBezTo>
                <a:cubicBezTo>
                  <a:pt x="3" y="1070"/>
                  <a:pt x="43" y="1048"/>
                  <a:pt x="41" y="1038"/>
                </a:cubicBezTo>
                <a:cubicBezTo>
                  <a:pt x="32" y="1008"/>
                  <a:pt x="42" y="944"/>
                  <a:pt x="23" y="927"/>
                </a:cubicBezTo>
                <a:cubicBezTo>
                  <a:pt x="25" y="919"/>
                  <a:pt x="31" y="916"/>
                  <a:pt x="35" y="909"/>
                </a:cubicBezTo>
                <a:cubicBezTo>
                  <a:pt x="34" y="840"/>
                  <a:pt x="38" y="733"/>
                  <a:pt x="26" y="667"/>
                </a:cubicBezTo>
                <a:cubicBezTo>
                  <a:pt x="139" y="635"/>
                  <a:pt x="82" y="842"/>
                  <a:pt x="90" y="909"/>
                </a:cubicBezTo>
                <a:cubicBezTo>
                  <a:pt x="114" y="885"/>
                  <a:pt x="134" y="835"/>
                  <a:pt x="145" y="799"/>
                </a:cubicBezTo>
                <a:cubicBezTo>
                  <a:pt x="157" y="810"/>
                  <a:pt x="148" y="773"/>
                  <a:pt x="169" y="772"/>
                </a:cubicBezTo>
                <a:cubicBezTo>
                  <a:pt x="158" y="762"/>
                  <a:pt x="177" y="744"/>
                  <a:pt x="180" y="737"/>
                </a:cubicBezTo>
                <a:cubicBezTo>
                  <a:pt x="187" y="725"/>
                  <a:pt x="189" y="701"/>
                  <a:pt x="204" y="702"/>
                </a:cubicBezTo>
                <a:cubicBezTo>
                  <a:pt x="200" y="686"/>
                  <a:pt x="218" y="673"/>
                  <a:pt x="210" y="670"/>
                </a:cubicBezTo>
                <a:cubicBezTo>
                  <a:pt x="213" y="656"/>
                  <a:pt x="221" y="679"/>
                  <a:pt x="224" y="665"/>
                </a:cubicBezTo>
                <a:cubicBezTo>
                  <a:pt x="221" y="656"/>
                  <a:pt x="221" y="674"/>
                  <a:pt x="215" y="665"/>
                </a:cubicBezTo>
                <a:cubicBezTo>
                  <a:pt x="220" y="647"/>
                  <a:pt x="218" y="652"/>
                  <a:pt x="230" y="647"/>
                </a:cubicBezTo>
                <a:cubicBezTo>
                  <a:pt x="227" y="647"/>
                  <a:pt x="222" y="633"/>
                  <a:pt x="230" y="627"/>
                </a:cubicBezTo>
                <a:cubicBezTo>
                  <a:pt x="231" y="626"/>
                  <a:pt x="238" y="628"/>
                  <a:pt x="239" y="627"/>
                </a:cubicBezTo>
                <a:cubicBezTo>
                  <a:pt x="241" y="622"/>
                  <a:pt x="233" y="620"/>
                  <a:pt x="236" y="615"/>
                </a:cubicBezTo>
                <a:cubicBezTo>
                  <a:pt x="237" y="613"/>
                  <a:pt x="240" y="620"/>
                  <a:pt x="239" y="621"/>
                </a:cubicBezTo>
                <a:cubicBezTo>
                  <a:pt x="246" y="618"/>
                  <a:pt x="238" y="608"/>
                  <a:pt x="242" y="597"/>
                </a:cubicBezTo>
                <a:cubicBezTo>
                  <a:pt x="244" y="591"/>
                  <a:pt x="254" y="586"/>
                  <a:pt x="259" y="577"/>
                </a:cubicBezTo>
                <a:cubicBezTo>
                  <a:pt x="262" y="571"/>
                  <a:pt x="260" y="559"/>
                  <a:pt x="262" y="554"/>
                </a:cubicBezTo>
                <a:cubicBezTo>
                  <a:pt x="266" y="543"/>
                  <a:pt x="277" y="538"/>
                  <a:pt x="277" y="536"/>
                </a:cubicBezTo>
                <a:cubicBezTo>
                  <a:pt x="277" y="534"/>
                  <a:pt x="271" y="521"/>
                  <a:pt x="282" y="525"/>
                </a:cubicBezTo>
                <a:cubicBezTo>
                  <a:pt x="282" y="508"/>
                  <a:pt x="306" y="493"/>
                  <a:pt x="303" y="472"/>
                </a:cubicBezTo>
                <a:cubicBezTo>
                  <a:pt x="306" y="462"/>
                  <a:pt x="314" y="456"/>
                  <a:pt x="320" y="449"/>
                </a:cubicBezTo>
                <a:cubicBezTo>
                  <a:pt x="332" y="418"/>
                  <a:pt x="335" y="385"/>
                  <a:pt x="352" y="350"/>
                </a:cubicBezTo>
                <a:cubicBezTo>
                  <a:pt x="350" y="354"/>
                  <a:pt x="368" y="337"/>
                  <a:pt x="370" y="332"/>
                </a:cubicBezTo>
                <a:cubicBezTo>
                  <a:pt x="377" y="318"/>
                  <a:pt x="378" y="298"/>
                  <a:pt x="385" y="283"/>
                </a:cubicBezTo>
                <a:cubicBezTo>
                  <a:pt x="414" y="212"/>
                  <a:pt x="449" y="139"/>
                  <a:pt x="472" y="67"/>
                </a:cubicBezTo>
                <a:cubicBezTo>
                  <a:pt x="479" y="46"/>
                  <a:pt x="488" y="24"/>
                  <a:pt x="492" y="0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pic>
        <p:nvPicPr>
          <p:cNvPr id="18" name="Picture 17" descr="image of the champion name column in the assess the champion section of the document." title="screen capture of the assess the champion document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4554" y="1529812"/>
            <a:ext cx="4990550" cy="4556589"/>
          </a:xfrm>
          <a:prstGeom prst="rect">
            <a:avLst/>
          </a:prstGeom>
        </p:spPr>
      </p:pic>
      <p:sp>
        <p:nvSpPr>
          <p:cNvPr id="20" name="Freeform 19" descr="black circle highlighting the champion name column" title="black circle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8765075" y="2986832"/>
            <a:ext cx="3101883" cy="448871"/>
          </a:xfrm>
          <a:custGeom>
            <a:avLst/>
            <a:gdLst>
              <a:gd name="T0" fmla="*/ 274 w 326"/>
              <a:gd name="T1" fmla="*/ 34 h 180"/>
              <a:gd name="T2" fmla="*/ 209 w 326"/>
              <a:gd name="T3" fmla="*/ 11 h 180"/>
              <a:gd name="T4" fmla="*/ 63 w 326"/>
              <a:gd name="T5" fmla="*/ 43 h 180"/>
              <a:gd name="T6" fmla="*/ 18 w 326"/>
              <a:gd name="T7" fmla="*/ 101 h 180"/>
              <a:gd name="T8" fmla="*/ 39 w 326"/>
              <a:gd name="T9" fmla="*/ 145 h 180"/>
              <a:gd name="T10" fmla="*/ 97 w 326"/>
              <a:gd name="T11" fmla="*/ 158 h 180"/>
              <a:gd name="T12" fmla="*/ 246 w 326"/>
              <a:gd name="T13" fmla="*/ 144 h 180"/>
              <a:gd name="T14" fmla="*/ 294 w 326"/>
              <a:gd name="T15" fmla="*/ 118 h 180"/>
              <a:gd name="T16" fmla="*/ 291 w 326"/>
              <a:gd name="T17" fmla="*/ 71 h 180"/>
              <a:gd name="T18" fmla="*/ 227 w 326"/>
              <a:gd name="T19" fmla="*/ 48 h 180"/>
              <a:gd name="T20" fmla="*/ 208 w 326"/>
              <a:gd name="T21" fmla="*/ 42 h 180"/>
              <a:gd name="T22" fmla="*/ 202 w 326"/>
              <a:gd name="T23" fmla="*/ 32 h 180"/>
              <a:gd name="T24" fmla="*/ 213 w 326"/>
              <a:gd name="T25" fmla="*/ 26 h 180"/>
              <a:gd name="T26" fmla="*/ 283 w 326"/>
              <a:gd name="T27" fmla="*/ 50 h 180"/>
              <a:gd name="T28" fmla="*/ 311 w 326"/>
              <a:gd name="T29" fmla="*/ 71 h 180"/>
              <a:gd name="T30" fmla="*/ 317 w 326"/>
              <a:gd name="T31" fmla="*/ 115 h 180"/>
              <a:gd name="T32" fmla="*/ 276 w 326"/>
              <a:gd name="T33" fmla="*/ 152 h 180"/>
              <a:gd name="T34" fmla="*/ 194 w 326"/>
              <a:gd name="T35" fmla="*/ 174 h 180"/>
              <a:gd name="T36" fmla="*/ 54 w 326"/>
              <a:gd name="T37" fmla="*/ 165 h 180"/>
              <a:gd name="T38" fmla="*/ 29 w 326"/>
              <a:gd name="T39" fmla="*/ 154 h 180"/>
              <a:gd name="T40" fmla="*/ 5 w 326"/>
              <a:gd name="T41" fmla="*/ 100 h 180"/>
              <a:gd name="T42" fmla="*/ 49 w 326"/>
              <a:gd name="T43" fmla="*/ 38 h 180"/>
              <a:gd name="T44" fmla="*/ 149 w 326"/>
              <a:gd name="T45" fmla="*/ 4 h 180"/>
              <a:gd name="T46" fmla="*/ 242 w 326"/>
              <a:gd name="T47" fmla="*/ 10 h 180"/>
              <a:gd name="T48" fmla="*/ 274 w 326"/>
              <a:gd name="T49" fmla="*/ 3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6" h="180">
                <a:moveTo>
                  <a:pt x="274" y="34"/>
                </a:moveTo>
                <a:cubicBezTo>
                  <a:pt x="256" y="14"/>
                  <a:pt x="232" y="12"/>
                  <a:pt x="209" y="11"/>
                </a:cubicBezTo>
                <a:cubicBezTo>
                  <a:pt x="158" y="8"/>
                  <a:pt x="108" y="15"/>
                  <a:pt x="63" y="43"/>
                </a:cubicBezTo>
                <a:cubicBezTo>
                  <a:pt x="41" y="57"/>
                  <a:pt x="24" y="75"/>
                  <a:pt x="18" y="101"/>
                </a:cubicBezTo>
                <a:cubicBezTo>
                  <a:pt x="13" y="121"/>
                  <a:pt x="19" y="138"/>
                  <a:pt x="39" y="145"/>
                </a:cubicBezTo>
                <a:cubicBezTo>
                  <a:pt x="57" y="151"/>
                  <a:pt x="77" y="155"/>
                  <a:pt x="97" y="158"/>
                </a:cubicBezTo>
                <a:cubicBezTo>
                  <a:pt x="147" y="164"/>
                  <a:pt x="197" y="160"/>
                  <a:pt x="246" y="144"/>
                </a:cubicBezTo>
                <a:cubicBezTo>
                  <a:pt x="263" y="138"/>
                  <a:pt x="280" y="131"/>
                  <a:pt x="294" y="118"/>
                </a:cubicBezTo>
                <a:cubicBezTo>
                  <a:pt x="314" y="101"/>
                  <a:pt x="313" y="86"/>
                  <a:pt x="291" y="71"/>
                </a:cubicBezTo>
                <a:cubicBezTo>
                  <a:pt x="272" y="58"/>
                  <a:pt x="249" y="53"/>
                  <a:pt x="227" y="48"/>
                </a:cubicBezTo>
                <a:cubicBezTo>
                  <a:pt x="220" y="46"/>
                  <a:pt x="214" y="44"/>
                  <a:pt x="208" y="42"/>
                </a:cubicBezTo>
                <a:cubicBezTo>
                  <a:pt x="203" y="41"/>
                  <a:pt x="200" y="37"/>
                  <a:pt x="202" y="32"/>
                </a:cubicBezTo>
                <a:cubicBezTo>
                  <a:pt x="203" y="27"/>
                  <a:pt x="207" y="24"/>
                  <a:pt x="213" y="26"/>
                </a:cubicBezTo>
                <a:cubicBezTo>
                  <a:pt x="236" y="34"/>
                  <a:pt x="260" y="41"/>
                  <a:pt x="283" y="50"/>
                </a:cubicBezTo>
                <a:cubicBezTo>
                  <a:pt x="293" y="55"/>
                  <a:pt x="303" y="63"/>
                  <a:pt x="311" y="71"/>
                </a:cubicBezTo>
                <a:cubicBezTo>
                  <a:pt x="324" y="84"/>
                  <a:pt x="326" y="99"/>
                  <a:pt x="317" y="115"/>
                </a:cubicBezTo>
                <a:cubicBezTo>
                  <a:pt x="308" y="132"/>
                  <a:pt x="293" y="143"/>
                  <a:pt x="276" y="152"/>
                </a:cubicBezTo>
                <a:cubicBezTo>
                  <a:pt x="251" y="165"/>
                  <a:pt x="223" y="171"/>
                  <a:pt x="194" y="174"/>
                </a:cubicBezTo>
                <a:cubicBezTo>
                  <a:pt x="147" y="180"/>
                  <a:pt x="100" y="176"/>
                  <a:pt x="54" y="165"/>
                </a:cubicBezTo>
                <a:cubicBezTo>
                  <a:pt x="45" y="162"/>
                  <a:pt x="37" y="159"/>
                  <a:pt x="29" y="154"/>
                </a:cubicBezTo>
                <a:cubicBezTo>
                  <a:pt x="8" y="143"/>
                  <a:pt x="0" y="122"/>
                  <a:pt x="5" y="100"/>
                </a:cubicBezTo>
                <a:cubicBezTo>
                  <a:pt x="11" y="73"/>
                  <a:pt x="27" y="53"/>
                  <a:pt x="49" y="38"/>
                </a:cubicBezTo>
                <a:cubicBezTo>
                  <a:pt x="79" y="18"/>
                  <a:pt x="113" y="8"/>
                  <a:pt x="149" y="4"/>
                </a:cubicBezTo>
                <a:cubicBezTo>
                  <a:pt x="180" y="0"/>
                  <a:pt x="212" y="2"/>
                  <a:pt x="242" y="10"/>
                </a:cubicBezTo>
                <a:cubicBezTo>
                  <a:pt x="260" y="15"/>
                  <a:pt x="269" y="22"/>
                  <a:pt x="274" y="34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9" name="Freeform 18" descr="black arrow highlighting the champion name column" title="black arrow "/>
          <p:cNvSpPr>
            <a:spLocks/>
          </p:cNvSpPr>
          <p:nvPr/>
        </p:nvSpPr>
        <p:spPr bwMode="auto">
          <a:xfrm rot="19822544">
            <a:off x="10823802" y="3238720"/>
            <a:ext cx="668845" cy="979533"/>
          </a:xfrm>
          <a:custGeom>
            <a:avLst/>
            <a:gdLst>
              <a:gd name="T0" fmla="*/ 492 w 600"/>
              <a:gd name="T1" fmla="*/ 0 h 1115"/>
              <a:gd name="T2" fmla="*/ 489 w 600"/>
              <a:gd name="T3" fmla="*/ 169 h 1115"/>
              <a:gd name="T4" fmla="*/ 452 w 600"/>
              <a:gd name="T5" fmla="*/ 254 h 1115"/>
              <a:gd name="T6" fmla="*/ 446 w 600"/>
              <a:gd name="T7" fmla="*/ 265 h 1115"/>
              <a:gd name="T8" fmla="*/ 143 w 600"/>
              <a:gd name="T9" fmla="*/ 930 h 1115"/>
              <a:gd name="T10" fmla="*/ 210 w 600"/>
              <a:gd name="T11" fmla="*/ 874 h 1115"/>
              <a:gd name="T12" fmla="*/ 364 w 600"/>
              <a:gd name="T13" fmla="*/ 769 h 1115"/>
              <a:gd name="T14" fmla="*/ 390 w 600"/>
              <a:gd name="T15" fmla="*/ 807 h 1115"/>
              <a:gd name="T16" fmla="*/ 387 w 600"/>
              <a:gd name="T17" fmla="*/ 813 h 1115"/>
              <a:gd name="T18" fmla="*/ 256 w 600"/>
              <a:gd name="T19" fmla="*/ 915 h 1115"/>
              <a:gd name="T20" fmla="*/ 259 w 600"/>
              <a:gd name="T21" fmla="*/ 924 h 1115"/>
              <a:gd name="T22" fmla="*/ 247 w 600"/>
              <a:gd name="T23" fmla="*/ 941 h 1115"/>
              <a:gd name="T24" fmla="*/ 207 w 600"/>
              <a:gd name="T25" fmla="*/ 979 h 1115"/>
              <a:gd name="T26" fmla="*/ 58 w 600"/>
              <a:gd name="T27" fmla="*/ 1108 h 1115"/>
              <a:gd name="T28" fmla="*/ 0 w 600"/>
              <a:gd name="T29" fmla="*/ 1081 h 1115"/>
              <a:gd name="T30" fmla="*/ 41 w 600"/>
              <a:gd name="T31" fmla="*/ 1038 h 1115"/>
              <a:gd name="T32" fmla="*/ 23 w 600"/>
              <a:gd name="T33" fmla="*/ 927 h 1115"/>
              <a:gd name="T34" fmla="*/ 35 w 600"/>
              <a:gd name="T35" fmla="*/ 909 h 1115"/>
              <a:gd name="T36" fmla="*/ 26 w 600"/>
              <a:gd name="T37" fmla="*/ 667 h 1115"/>
              <a:gd name="T38" fmla="*/ 90 w 600"/>
              <a:gd name="T39" fmla="*/ 909 h 1115"/>
              <a:gd name="T40" fmla="*/ 145 w 600"/>
              <a:gd name="T41" fmla="*/ 799 h 1115"/>
              <a:gd name="T42" fmla="*/ 169 w 600"/>
              <a:gd name="T43" fmla="*/ 772 h 1115"/>
              <a:gd name="T44" fmla="*/ 180 w 600"/>
              <a:gd name="T45" fmla="*/ 737 h 1115"/>
              <a:gd name="T46" fmla="*/ 204 w 600"/>
              <a:gd name="T47" fmla="*/ 702 h 1115"/>
              <a:gd name="T48" fmla="*/ 210 w 600"/>
              <a:gd name="T49" fmla="*/ 670 h 1115"/>
              <a:gd name="T50" fmla="*/ 224 w 600"/>
              <a:gd name="T51" fmla="*/ 665 h 1115"/>
              <a:gd name="T52" fmla="*/ 215 w 600"/>
              <a:gd name="T53" fmla="*/ 665 h 1115"/>
              <a:gd name="T54" fmla="*/ 230 w 600"/>
              <a:gd name="T55" fmla="*/ 647 h 1115"/>
              <a:gd name="T56" fmla="*/ 230 w 600"/>
              <a:gd name="T57" fmla="*/ 627 h 1115"/>
              <a:gd name="T58" fmla="*/ 239 w 600"/>
              <a:gd name="T59" fmla="*/ 627 h 1115"/>
              <a:gd name="T60" fmla="*/ 236 w 600"/>
              <a:gd name="T61" fmla="*/ 615 h 1115"/>
              <a:gd name="T62" fmla="*/ 239 w 600"/>
              <a:gd name="T63" fmla="*/ 621 h 1115"/>
              <a:gd name="T64" fmla="*/ 242 w 600"/>
              <a:gd name="T65" fmla="*/ 597 h 1115"/>
              <a:gd name="T66" fmla="*/ 259 w 600"/>
              <a:gd name="T67" fmla="*/ 577 h 1115"/>
              <a:gd name="T68" fmla="*/ 262 w 600"/>
              <a:gd name="T69" fmla="*/ 554 h 1115"/>
              <a:gd name="T70" fmla="*/ 277 w 600"/>
              <a:gd name="T71" fmla="*/ 536 h 1115"/>
              <a:gd name="T72" fmla="*/ 282 w 600"/>
              <a:gd name="T73" fmla="*/ 525 h 1115"/>
              <a:gd name="T74" fmla="*/ 303 w 600"/>
              <a:gd name="T75" fmla="*/ 472 h 1115"/>
              <a:gd name="T76" fmla="*/ 320 w 600"/>
              <a:gd name="T77" fmla="*/ 449 h 1115"/>
              <a:gd name="T78" fmla="*/ 352 w 600"/>
              <a:gd name="T79" fmla="*/ 350 h 1115"/>
              <a:gd name="T80" fmla="*/ 370 w 600"/>
              <a:gd name="T81" fmla="*/ 332 h 1115"/>
              <a:gd name="T82" fmla="*/ 385 w 600"/>
              <a:gd name="T83" fmla="*/ 283 h 1115"/>
              <a:gd name="T84" fmla="*/ 472 w 600"/>
              <a:gd name="T85" fmla="*/ 67 h 1115"/>
              <a:gd name="T86" fmla="*/ 492 w 600"/>
              <a:gd name="T87" fmla="*/ 0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0" h="1115">
                <a:moveTo>
                  <a:pt x="492" y="0"/>
                </a:moveTo>
                <a:cubicBezTo>
                  <a:pt x="600" y="3"/>
                  <a:pt x="508" y="123"/>
                  <a:pt x="489" y="169"/>
                </a:cubicBezTo>
                <a:cubicBezTo>
                  <a:pt x="478" y="199"/>
                  <a:pt x="468" y="228"/>
                  <a:pt x="452" y="254"/>
                </a:cubicBezTo>
                <a:cubicBezTo>
                  <a:pt x="451" y="255"/>
                  <a:pt x="446" y="264"/>
                  <a:pt x="446" y="265"/>
                </a:cubicBezTo>
                <a:cubicBezTo>
                  <a:pt x="360" y="478"/>
                  <a:pt x="239" y="724"/>
                  <a:pt x="143" y="930"/>
                </a:cubicBezTo>
                <a:cubicBezTo>
                  <a:pt x="171" y="911"/>
                  <a:pt x="177" y="886"/>
                  <a:pt x="210" y="874"/>
                </a:cubicBezTo>
                <a:cubicBezTo>
                  <a:pt x="251" y="829"/>
                  <a:pt x="291" y="783"/>
                  <a:pt x="364" y="769"/>
                </a:cubicBezTo>
                <a:cubicBezTo>
                  <a:pt x="376" y="779"/>
                  <a:pt x="394" y="782"/>
                  <a:pt x="390" y="807"/>
                </a:cubicBezTo>
                <a:cubicBezTo>
                  <a:pt x="388" y="808"/>
                  <a:pt x="388" y="811"/>
                  <a:pt x="387" y="813"/>
                </a:cubicBezTo>
                <a:cubicBezTo>
                  <a:pt x="335" y="837"/>
                  <a:pt x="285" y="878"/>
                  <a:pt x="256" y="915"/>
                </a:cubicBezTo>
                <a:cubicBezTo>
                  <a:pt x="250" y="914"/>
                  <a:pt x="257" y="924"/>
                  <a:pt x="259" y="924"/>
                </a:cubicBezTo>
                <a:cubicBezTo>
                  <a:pt x="258" y="931"/>
                  <a:pt x="241" y="937"/>
                  <a:pt x="247" y="941"/>
                </a:cubicBezTo>
                <a:cubicBezTo>
                  <a:pt x="238" y="947"/>
                  <a:pt x="207" y="949"/>
                  <a:pt x="207" y="979"/>
                </a:cubicBezTo>
                <a:cubicBezTo>
                  <a:pt x="162" y="991"/>
                  <a:pt x="106" y="1089"/>
                  <a:pt x="58" y="1108"/>
                </a:cubicBezTo>
                <a:cubicBezTo>
                  <a:pt x="39" y="1115"/>
                  <a:pt x="5" y="1104"/>
                  <a:pt x="0" y="1081"/>
                </a:cubicBezTo>
                <a:cubicBezTo>
                  <a:pt x="3" y="1070"/>
                  <a:pt x="43" y="1048"/>
                  <a:pt x="41" y="1038"/>
                </a:cubicBezTo>
                <a:cubicBezTo>
                  <a:pt x="32" y="1008"/>
                  <a:pt x="42" y="944"/>
                  <a:pt x="23" y="927"/>
                </a:cubicBezTo>
                <a:cubicBezTo>
                  <a:pt x="25" y="919"/>
                  <a:pt x="31" y="916"/>
                  <a:pt x="35" y="909"/>
                </a:cubicBezTo>
                <a:cubicBezTo>
                  <a:pt x="34" y="840"/>
                  <a:pt x="38" y="733"/>
                  <a:pt x="26" y="667"/>
                </a:cubicBezTo>
                <a:cubicBezTo>
                  <a:pt x="139" y="635"/>
                  <a:pt x="82" y="842"/>
                  <a:pt x="90" y="909"/>
                </a:cubicBezTo>
                <a:cubicBezTo>
                  <a:pt x="114" y="885"/>
                  <a:pt x="134" y="835"/>
                  <a:pt x="145" y="799"/>
                </a:cubicBezTo>
                <a:cubicBezTo>
                  <a:pt x="157" y="810"/>
                  <a:pt x="148" y="773"/>
                  <a:pt x="169" y="772"/>
                </a:cubicBezTo>
                <a:cubicBezTo>
                  <a:pt x="158" y="762"/>
                  <a:pt x="177" y="744"/>
                  <a:pt x="180" y="737"/>
                </a:cubicBezTo>
                <a:cubicBezTo>
                  <a:pt x="187" y="725"/>
                  <a:pt x="189" y="701"/>
                  <a:pt x="204" y="702"/>
                </a:cubicBezTo>
                <a:cubicBezTo>
                  <a:pt x="200" y="686"/>
                  <a:pt x="218" y="673"/>
                  <a:pt x="210" y="670"/>
                </a:cubicBezTo>
                <a:cubicBezTo>
                  <a:pt x="213" y="656"/>
                  <a:pt x="221" y="679"/>
                  <a:pt x="224" y="665"/>
                </a:cubicBezTo>
                <a:cubicBezTo>
                  <a:pt x="221" y="656"/>
                  <a:pt x="221" y="674"/>
                  <a:pt x="215" y="665"/>
                </a:cubicBezTo>
                <a:cubicBezTo>
                  <a:pt x="220" y="647"/>
                  <a:pt x="218" y="652"/>
                  <a:pt x="230" y="647"/>
                </a:cubicBezTo>
                <a:cubicBezTo>
                  <a:pt x="227" y="647"/>
                  <a:pt x="222" y="633"/>
                  <a:pt x="230" y="627"/>
                </a:cubicBezTo>
                <a:cubicBezTo>
                  <a:pt x="231" y="626"/>
                  <a:pt x="238" y="628"/>
                  <a:pt x="239" y="627"/>
                </a:cubicBezTo>
                <a:cubicBezTo>
                  <a:pt x="241" y="622"/>
                  <a:pt x="233" y="620"/>
                  <a:pt x="236" y="615"/>
                </a:cubicBezTo>
                <a:cubicBezTo>
                  <a:pt x="237" y="613"/>
                  <a:pt x="240" y="620"/>
                  <a:pt x="239" y="621"/>
                </a:cubicBezTo>
                <a:cubicBezTo>
                  <a:pt x="246" y="618"/>
                  <a:pt x="238" y="608"/>
                  <a:pt x="242" y="597"/>
                </a:cubicBezTo>
                <a:cubicBezTo>
                  <a:pt x="244" y="591"/>
                  <a:pt x="254" y="586"/>
                  <a:pt x="259" y="577"/>
                </a:cubicBezTo>
                <a:cubicBezTo>
                  <a:pt x="262" y="571"/>
                  <a:pt x="260" y="559"/>
                  <a:pt x="262" y="554"/>
                </a:cubicBezTo>
                <a:cubicBezTo>
                  <a:pt x="266" y="543"/>
                  <a:pt x="277" y="538"/>
                  <a:pt x="277" y="536"/>
                </a:cubicBezTo>
                <a:cubicBezTo>
                  <a:pt x="277" y="534"/>
                  <a:pt x="271" y="521"/>
                  <a:pt x="282" y="525"/>
                </a:cubicBezTo>
                <a:cubicBezTo>
                  <a:pt x="282" y="508"/>
                  <a:pt x="306" y="493"/>
                  <a:pt x="303" y="472"/>
                </a:cubicBezTo>
                <a:cubicBezTo>
                  <a:pt x="306" y="462"/>
                  <a:pt x="314" y="456"/>
                  <a:pt x="320" y="449"/>
                </a:cubicBezTo>
                <a:cubicBezTo>
                  <a:pt x="332" y="418"/>
                  <a:pt x="335" y="385"/>
                  <a:pt x="352" y="350"/>
                </a:cubicBezTo>
                <a:cubicBezTo>
                  <a:pt x="350" y="354"/>
                  <a:pt x="368" y="337"/>
                  <a:pt x="370" y="332"/>
                </a:cubicBezTo>
                <a:cubicBezTo>
                  <a:pt x="377" y="318"/>
                  <a:pt x="378" y="298"/>
                  <a:pt x="385" y="283"/>
                </a:cubicBezTo>
                <a:cubicBezTo>
                  <a:pt x="414" y="212"/>
                  <a:pt x="449" y="139"/>
                  <a:pt x="472" y="67"/>
                </a:cubicBezTo>
                <a:cubicBezTo>
                  <a:pt x="479" y="46"/>
                  <a:pt x="488" y="24"/>
                  <a:pt x="492" y="0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21" name="Freeform 20" descr="highlighting the assess the champions section of the image below." title="black circle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9112297" y="5734183"/>
            <a:ext cx="1932855" cy="448871"/>
          </a:xfrm>
          <a:custGeom>
            <a:avLst/>
            <a:gdLst>
              <a:gd name="T0" fmla="*/ 274 w 326"/>
              <a:gd name="T1" fmla="*/ 34 h 180"/>
              <a:gd name="T2" fmla="*/ 209 w 326"/>
              <a:gd name="T3" fmla="*/ 11 h 180"/>
              <a:gd name="T4" fmla="*/ 63 w 326"/>
              <a:gd name="T5" fmla="*/ 43 h 180"/>
              <a:gd name="T6" fmla="*/ 18 w 326"/>
              <a:gd name="T7" fmla="*/ 101 h 180"/>
              <a:gd name="T8" fmla="*/ 39 w 326"/>
              <a:gd name="T9" fmla="*/ 145 h 180"/>
              <a:gd name="T10" fmla="*/ 97 w 326"/>
              <a:gd name="T11" fmla="*/ 158 h 180"/>
              <a:gd name="T12" fmla="*/ 246 w 326"/>
              <a:gd name="T13" fmla="*/ 144 h 180"/>
              <a:gd name="T14" fmla="*/ 294 w 326"/>
              <a:gd name="T15" fmla="*/ 118 h 180"/>
              <a:gd name="T16" fmla="*/ 291 w 326"/>
              <a:gd name="T17" fmla="*/ 71 h 180"/>
              <a:gd name="T18" fmla="*/ 227 w 326"/>
              <a:gd name="T19" fmla="*/ 48 h 180"/>
              <a:gd name="T20" fmla="*/ 208 w 326"/>
              <a:gd name="T21" fmla="*/ 42 h 180"/>
              <a:gd name="T22" fmla="*/ 202 w 326"/>
              <a:gd name="T23" fmla="*/ 32 h 180"/>
              <a:gd name="T24" fmla="*/ 213 w 326"/>
              <a:gd name="T25" fmla="*/ 26 h 180"/>
              <a:gd name="T26" fmla="*/ 283 w 326"/>
              <a:gd name="T27" fmla="*/ 50 h 180"/>
              <a:gd name="T28" fmla="*/ 311 w 326"/>
              <a:gd name="T29" fmla="*/ 71 h 180"/>
              <a:gd name="T30" fmla="*/ 317 w 326"/>
              <a:gd name="T31" fmla="*/ 115 h 180"/>
              <a:gd name="T32" fmla="*/ 276 w 326"/>
              <a:gd name="T33" fmla="*/ 152 h 180"/>
              <a:gd name="T34" fmla="*/ 194 w 326"/>
              <a:gd name="T35" fmla="*/ 174 h 180"/>
              <a:gd name="T36" fmla="*/ 54 w 326"/>
              <a:gd name="T37" fmla="*/ 165 h 180"/>
              <a:gd name="T38" fmla="*/ 29 w 326"/>
              <a:gd name="T39" fmla="*/ 154 h 180"/>
              <a:gd name="T40" fmla="*/ 5 w 326"/>
              <a:gd name="T41" fmla="*/ 100 h 180"/>
              <a:gd name="T42" fmla="*/ 49 w 326"/>
              <a:gd name="T43" fmla="*/ 38 h 180"/>
              <a:gd name="T44" fmla="*/ 149 w 326"/>
              <a:gd name="T45" fmla="*/ 4 h 180"/>
              <a:gd name="T46" fmla="*/ 242 w 326"/>
              <a:gd name="T47" fmla="*/ 10 h 180"/>
              <a:gd name="T48" fmla="*/ 274 w 326"/>
              <a:gd name="T49" fmla="*/ 3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6" h="180">
                <a:moveTo>
                  <a:pt x="274" y="34"/>
                </a:moveTo>
                <a:cubicBezTo>
                  <a:pt x="256" y="14"/>
                  <a:pt x="232" y="12"/>
                  <a:pt x="209" y="11"/>
                </a:cubicBezTo>
                <a:cubicBezTo>
                  <a:pt x="158" y="8"/>
                  <a:pt x="108" y="15"/>
                  <a:pt x="63" y="43"/>
                </a:cubicBezTo>
                <a:cubicBezTo>
                  <a:pt x="41" y="57"/>
                  <a:pt x="24" y="75"/>
                  <a:pt x="18" y="101"/>
                </a:cubicBezTo>
                <a:cubicBezTo>
                  <a:pt x="13" y="121"/>
                  <a:pt x="19" y="138"/>
                  <a:pt x="39" y="145"/>
                </a:cubicBezTo>
                <a:cubicBezTo>
                  <a:pt x="57" y="151"/>
                  <a:pt x="77" y="155"/>
                  <a:pt x="97" y="158"/>
                </a:cubicBezTo>
                <a:cubicBezTo>
                  <a:pt x="147" y="164"/>
                  <a:pt x="197" y="160"/>
                  <a:pt x="246" y="144"/>
                </a:cubicBezTo>
                <a:cubicBezTo>
                  <a:pt x="263" y="138"/>
                  <a:pt x="280" y="131"/>
                  <a:pt x="294" y="118"/>
                </a:cubicBezTo>
                <a:cubicBezTo>
                  <a:pt x="314" y="101"/>
                  <a:pt x="313" y="86"/>
                  <a:pt x="291" y="71"/>
                </a:cubicBezTo>
                <a:cubicBezTo>
                  <a:pt x="272" y="58"/>
                  <a:pt x="249" y="53"/>
                  <a:pt x="227" y="48"/>
                </a:cubicBezTo>
                <a:cubicBezTo>
                  <a:pt x="220" y="46"/>
                  <a:pt x="214" y="44"/>
                  <a:pt x="208" y="42"/>
                </a:cubicBezTo>
                <a:cubicBezTo>
                  <a:pt x="203" y="41"/>
                  <a:pt x="200" y="37"/>
                  <a:pt x="202" y="32"/>
                </a:cubicBezTo>
                <a:cubicBezTo>
                  <a:pt x="203" y="27"/>
                  <a:pt x="207" y="24"/>
                  <a:pt x="213" y="26"/>
                </a:cubicBezTo>
                <a:cubicBezTo>
                  <a:pt x="236" y="34"/>
                  <a:pt x="260" y="41"/>
                  <a:pt x="283" y="50"/>
                </a:cubicBezTo>
                <a:cubicBezTo>
                  <a:pt x="293" y="55"/>
                  <a:pt x="303" y="63"/>
                  <a:pt x="311" y="71"/>
                </a:cubicBezTo>
                <a:cubicBezTo>
                  <a:pt x="324" y="84"/>
                  <a:pt x="326" y="99"/>
                  <a:pt x="317" y="115"/>
                </a:cubicBezTo>
                <a:cubicBezTo>
                  <a:pt x="308" y="132"/>
                  <a:pt x="293" y="143"/>
                  <a:pt x="276" y="152"/>
                </a:cubicBezTo>
                <a:cubicBezTo>
                  <a:pt x="251" y="165"/>
                  <a:pt x="223" y="171"/>
                  <a:pt x="194" y="174"/>
                </a:cubicBezTo>
                <a:cubicBezTo>
                  <a:pt x="147" y="180"/>
                  <a:pt x="100" y="176"/>
                  <a:pt x="54" y="165"/>
                </a:cubicBezTo>
                <a:cubicBezTo>
                  <a:pt x="45" y="162"/>
                  <a:pt x="37" y="159"/>
                  <a:pt x="29" y="154"/>
                </a:cubicBezTo>
                <a:cubicBezTo>
                  <a:pt x="8" y="143"/>
                  <a:pt x="0" y="122"/>
                  <a:pt x="5" y="100"/>
                </a:cubicBezTo>
                <a:cubicBezTo>
                  <a:pt x="11" y="73"/>
                  <a:pt x="27" y="53"/>
                  <a:pt x="49" y="38"/>
                </a:cubicBezTo>
                <a:cubicBezTo>
                  <a:pt x="79" y="18"/>
                  <a:pt x="113" y="8"/>
                  <a:pt x="149" y="4"/>
                </a:cubicBezTo>
                <a:cubicBezTo>
                  <a:pt x="180" y="0"/>
                  <a:pt x="212" y="2"/>
                  <a:pt x="242" y="10"/>
                </a:cubicBezTo>
                <a:cubicBezTo>
                  <a:pt x="260" y="15"/>
                  <a:pt x="269" y="22"/>
                  <a:pt x="274" y="34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24" name="Freeform 23" descr="LightBulb Icon"/>
          <p:cNvSpPr>
            <a:spLocks noEditPoints="1"/>
          </p:cNvSpPr>
          <p:nvPr/>
        </p:nvSpPr>
        <p:spPr bwMode="auto">
          <a:xfrm rot="21258215">
            <a:off x="1031498" y="3623763"/>
            <a:ext cx="571500" cy="855341"/>
          </a:xfrm>
          <a:custGeom>
            <a:avLst/>
            <a:gdLst>
              <a:gd name="T0" fmla="*/ 377 w 448"/>
              <a:gd name="T1" fmla="*/ 53 h 671"/>
              <a:gd name="T2" fmla="*/ 224 w 448"/>
              <a:gd name="T3" fmla="*/ 0 h 671"/>
              <a:gd name="T4" fmla="*/ 71 w 448"/>
              <a:gd name="T5" fmla="*/ 53 h 671"/>
              <a:gd name="T6" fmla="*/ 0 w 448"/>
              <a:gd name="T7" fmla="*/ 196 h 671"/>
              <a:gd name="T8" fmla="*/ 78 w 448"/>
              <a:gd name="T9" fmla="*/ 351 h 671"/>
              <a:gd name="T10" fmla="*/ 119 w 448"/>
              <a:gd name="T11" fmla="*/ 440 h 671"/>
              <a:gd name="T12" fmla="*/ 109 w 448"/>
              <a:gd name="T13" fmla="*/ 503 h 671"/>
              <a:gd name="T14" fmla="*/ 118 w 448"/>
              <a:gd name="T15" fmla="*/ 567 h 671"/>
              <a:gd name="T16" fmla="*/ 126 w 448"/>
              <a:gd name="T17" fmla="*/ 618 h 671"/>
              <a:gd name="T18" fmla="*/ 186 w 448"/>
              <a:gd name="T19" fmla="*/ 660 h 671"/>
              <a:gd name="T20" fmla="*/ 262 w 448"/>
              <a:gd name="T21" fmla="*/ 660 h 671"/>
              <a:gd name="T22" fmla="*/ 322 w 448"/>
              <a:gd name="T23" fmla="*/ 618 h 671"/>
              <a:gd name="T24" fmla="*/ 330 w 448"/>
              <a:gd name="T25" fmla="*/ 567 h 671"/>
              <a:gd name="T26" fmla="*/ 339 w 448"/>
              <a:gd name="T27" fmla="*/ 503 h 671"/>
              <a:gd name="T28" fmla="*/ 329 w 448"/>
              <a:gd name="T29" fmla="*/ 440 h 671"/>
              <a:gd name="T30" fmla="*/ 370 w 448"/>
              <a:gd name="T31" fmla="*/ 351 h 671"/>
              <a:gd name="T32" fmla="*/ 448 w 448"/>
              <a:gd name="T33" fmla="*/ 196 h 671"/>
              <a:gd name="T34" fmla="*/ 362 w 448"/>
              <a:gd name="T35" fmla="*/ 274 h 671"/>
              <a:gd name="T36" fmla="*/ 336 w 448"/>
              <a:gd name="T37" fmla="*/ 303 h 671"/>
              <a:gd name="T38" fmla="*/ 174 w 448"/>
              <a:gd name="T39" fmla="*/ 433 h 671"/>
              <a:gd name="T40" fmla="*/ 99 w 448"/>
              <a:gd name="T41" fmla="*/ 289 h 671"/>
              <a:gd name="T42" fmla="*/ 56 w 448"/>
              <a:gd name="T43" fmla="*/ 196 h 671"/>
              <a:gd name="T44" fmla="*/ 111 w 448"/>
              <a:gd name="T45" fmla="*/ 93 h 671"/>
              <a:gd name="T46" fmla="*/ 224 w 448"/>
              <a:gd name="T47" fmla="*/ 56 h 671"/>
              <a:gd name="T48" fmla="*/ 338 w 448"/>
              <a:gd name="T49" fmla="*/ 93 h 671"/>
              <a:gd name="T50" fmla="*/ 392 w 448"/>
              <a:gd name="T51" fmla="*/ 196 h 671"/>
              <a:gd name="T52" fmla="*/ 306 w 448"/>
              <a:gd name="T53" fmla="*/ 156 h 671"/>
              <a:gd name="T54" fmla="*/ 224 w 448"/>
              <a:gd name="T55" fmla="*/ 126 h 671"/>
              <a:gd name="T56" fmla="*/ 210 w 448"/>
              <a:gd name="T57" fmla="*/ 139 h 671"/>
              <a:gd name="T58" fmla="*/ 224 w 448"/>
              <a:gd name="T59" fmla="*/ 154 h 671"/>
              <a:gd name="T60" fmla="*/ 294 w 448"/>
              <a:gd name="T61" fmla="*/ 196 h 671"/>
              <a:gd name="T62" fmla="*/ 308 w 448"/>
              <a:gd name="T63" fmla="*/ 210 h 671"/>
              <a:gd name="T64" fmla="*/ 322 w 448"/>
              <a:gd name="T65" fmla="*/ 196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48" h="671">
                <a:moveTo>
                  <a:pt x="429" y="115"/>
                </a:moveTo>
                <a:cubicBezTo>
                  <a:pt x="416" y="90"/>
                  <a:pt x="398" y="69"/>
                  <a:pt x="377" y="53"/>
                </a:cubicBezTo>
                <a:cubicBezTo>
                  <a:pt x="356" y="36"/>
                  <a:pt x="332" y="23"/>
                  <a:pt x="306" y="14"/>
                </a:cubicBezTo>
                <a:cubicBezTo>
                  <a:pt x="279" y="4"/>
                  <a:pt x="252" y="0"/>
                  <a:pt x="224" y="0"/>
                </a:cubicBezTo>
                <a:cubicBezTo>
                  <a:pt x="196" y="0"/>
                  <a:pt x="169" y="4"/>
                  <a:pt x="142" y="14"/>
                </a:cubicBezTo>
                <a:cubicBezTo>
                  <a:pt x="116" y="23"/>
                  <a:pt x="92" y="36"/>
                  <a:pt x="71" y="53"/>
                </a:cubicBezTo>
                <a:cubicBezTo>
                  <a:pt x="50" y="69"/>
                  <a:pt x="32" y="90"/>
                  <a:pt x="20" y="115"/>
                </a:cubicBezTo>
                <a:cubicBezTo>
                  <a:pt x="7" y="140"/>
                  <a:pt x="0" y="167"/>
                  <a:pt x="0" y="196"/>
                </a:cubicBezTo>
                <a:cubicBezTo>
                  <a:pt x="0" y="241"/>
                  <a:pt x="15" y="280"/>
                  <a:pt x="45" y="313"/>
                </a:cubicBezTo>
                <a:cubicBezTo>
                  <a:pt x="58" y="327"/>
                  <a:pt x="69" y="340"/>
                  <a:pt x="78" y="351"/>
                </a:cubicBezTo>
                <a:cubicBezTo>
                  <a:pt x="86" y="362"/>
                  <a:pt x="95" y="376"/>
                  <a:pt x="104" y="393"/>
                </a:cubicBezTo>
                <a:cubicBezTo>
                  <a:pt x="112" y="409"/>
                  <a:pt x="117" y="425"/>
                  <a:pt x="119" y="440"/>
                </a:cubicBezTo>
                <a:cubicBezTo>
                  <a:pt x="105" y="448"/>
                  <a:pt x="98" y="460"/>
                  <a:pt x="98" y="475"/>
                </a:cubicBezTo>
                <a:cubicBezTo>
                  <a:pt x="98" y="486"/>
                  <a:pt x="102" y="496"/>
                  <a:pt x="109" y="503"/>
                </a:cubicBezTo>
                <a:cubicBezTo>
                  <a:pt x="102" y="511"/>
                  <a:pt x="98" y="521"/>
                  <a:pt x="98" y="531"/>
                </a:cubicBezTo>
                <a:cubicBezTo>
                  <a:pt x="98" y="547"/>
                  <a:pt x="105" y="558"/>
                  <a:pt x="118" y="567"/>
                </a:cubicBezTo>
                <a:cubicBezTo>
                  <a:pt x="114" y="574"/>
                  <a:pt x="112" y="580"/>
                  <a:pt x="112" y="587"/>
                </a:cubicBezTo>
                <a:cubicBezTo>
                  <a:pt x="112" y="601"/>
                  <a:pt x="117" y="611"/>
                  <a:pt x="126" y="618"/>
                </a:cubicBezTo>
                <a:cubicBezTo>
                  <a:pt x="135" y="626"/>
                  <a:pt x="146" y="629"/>
                  <a:pt x="160" y="629"/>
                </a:cubicBezTo>
                <a:cubicBezTo>
                  <a:pt x="166" y="642"/>
                  <a:pt x="174" y="652"/>
                  <a:pt x="186" y="660"/>
                </a:cubicBezTo>
                <a:cubicBezTo>
                  <a:pt x="198" y="668"/>
                  <a:pt x="210" y="671"/>
                  <a:pt x="224" y="671"/>
                </a:cubicBezTo>
                <a:cubicBezTo>
                  <a:pt x="238" y="671"/>
                  <a:pt x="250" y="668"/>
                  <a:pt x="262" y="660"/>
                </a:cubicBezTo>
                <a:cubicBezTo>
                  <a:pt x="274" y="652"/>
                  <a:pt x="283" y="642"/>
                  <a:pt x="288" y="629"/>
                </a:cubicBezTo>
                <a:cubicBezTo>
                  <a:pt x="302" y="629"/>
                  <a:pt x="313" y="626"/>
                  <a:pt x="322" y="618"/>
                </a:cubicBezTo>
                <a:cubicBezTo>
                  <a:pt x="331" y="611"/>
                  <a:pt x="336" y="601"/>
                  <a:pt x="336" y="587"/>
                </a:cubicBezTo>
                <a:cubicBezTo>
                  <a:pt x="336" y="580"/>
                  <a:pt x="334" y="574"/>
                  <a:pt x="330" y="567"/>
                </a:cubicBezTo>
                <a:cubicBezTo>
                  <a:pt x="343" y="558"/>
                  <a:pt x="350" y="547"/>
                  <a:pt x="350" y="531"/>
                </a:cubicBezTo>
                <a:cubicBezTo>
                  <a:pt x="350" y="521"/>
                  <a:pt x="346" y="511"/>
                  <a:pt x="339" y="503"/>
                </a:cubicBezTo>
                <a:cubicBezTo>
                  <a:pt x="346" y="496"/>
                  <a:pt x="350" y="486"/>
                  <a:pt x="350" y="475"/>
                </a:cubicBezTo>
                <a:cubicBezTo>
                  <a:pt x="350" y="460"/>
                  <a:pt x="343" y="448"/>
                  <a:pt x="329" y="440"/>
                </a:cubicBezTo>
                <a:cubicBezTo>
                  <a:pt x="331" y="425"/>
                  <a:pt x="336" y="409"/>
                  <a:pt x="344" y="393"/>
                </a:cubicBezTo>
                <a:cubicBezTo>
                  <a:pt x="353" y="376"/>
                  <a:pt x="362" y="362"/>
                  <a:pt x="370" y="351"/>
                </a:cubicBezTo>
                <a:cubicBezTo>
                  <a:pt x="379" y="340"/>
                  <a:pt x="390" y="327"/>
                  <a:pt x="403" y="313"/>
                </a:cubicBezTo>
                <a:cubicBezTo>
                  <a:pt x="433" y="280"/>
                  <a:pt x="448" y="241"/>
                  <a:pt x="448" y="196"/>
                </a:cubicBezTo>
                <a:cubicBezTo>
                  <a:pt x="448" y="167"/>
                  <a:pt x="442" y="140"/>
                  <a:pt x="429" y="115"/>
                </a:cubicBezTo>
                <a:close/>
                <a:moveTo>
                  <a:pt x="362" y="274"/>
                </a:moveTo>
                <a:cubicBezTo>
                  <a:pt x="359" y="278"/>
                  <a:pt x="355" y="282"/>
                  <a:pt x="349" y="289"/>
                </a:cubicBezTo>
                <a:cubicBezTo>
                  <a:pt x="343" y="295"/>
                  <a:pt x="338" y="300"/>
                  <a:pt x="336" y="303"/>
                </a:cubicBezTo>
                <a:cubicBezTo>
                  <a:pt x="298" y="348"/>
                  <a:pt x="278" y="391"/>
                  <a:pt x="274" y="433"/>
                </a:cubicBezTo>
                <a:cubicBezTo>
                  <a:pt x="174" y="433"/>
                  <a:pt x="174" y="433"/>
                  <a:pt x="174" y="433"/>
                </a:cubicBezTo>
                <a:cubicBezTo>
                  <a:pt x="170" y="391"/>
                  <a:pt x="150" y="348"/>
                  <a:pt x="112" y="303"/>
                </a:cubicBezTo>
                <a:cubicBezTo>
                  <a:pt x="110" y="300"/>
                  <a:pt x="105" y="295"/>
                  <a:pt x="99" y="289"/>
                </a:cubicBezTo>
                <a:cubicBezTo>
                  <a:pt x="93" y="282"/>
                  <a:pt x="89" y="278"/>
                  <a:pt x="86" y="274"/>
                </a:cubicBezTo>
                <a:cubicBezTo>
                  <a:pt x="66" y="251"/>
                  <a:pt x="56" y="225"/>
                  <a:pt x="56" y="196"/>
                </a:cubicBezTo>
                <a:cubicBezTo>
                  <a:pt x="56" y="175"/>
                  <a:pt x="61" y="155"/>
                  <a:pt x="71" y="137"/>
                </a:cubicBezTo>
                <a:cubicBezTo>
                  <a:pt x="81" y="119"/>
                  <a:pt x="94" y="104"/>
                  <a:pt x="111" y="93"/>
                </a:cubicBezTo>
                <a:cubicBezTo>
                  <a:pt x="127" y="81"/>
                  <a:pt x="145" y="72"/>
                  <a:pt x="164" y="65"/>
                </a:cubicBezTo>
                <a:cubicBezTo>
                  <a:pt x="184" y="59"/>
                  <a:pt x="204" y="56"/>
                  <a:pt x="224" y="56"/>
                </a:cubicBezTo>
                <a:cubicBezTo>
                  <a:pt x="244" y="56"/>
                  <a:pt x="264" y="59"/>
                  <a:pt x="284" y="65"/>
                </a:cubicBezTo>
                <a:cubicBezTo>
                  <a:pt x="303" y="72"/>
                  <a:pt x="321" y="81"/>
                  <a:pt x="338" y="93"/>
                </a:cubicBezTo>
                <a:cubicBezTo>
                  <a:pt x="354" y="104"/>
                  <a:pt x="367" y="119"/>
                  <a:pt x="377" y="137"/>
                </a:cubicBezTo>
                <a:cubicBezTo>
                  <a:pt x="387" y="155"/>
                  <a:pt x="392" y="175"/>
                  <a:pt x="392" y="196"/>
                </a:cubicBezTo>
                <a:cubicBezTo>
                  <a:pt x="392" y="225"/>
                  <a:pt x="382" y="251"/>
                  <a:pt x="362" y="274"/>
                </a:cubicBezTo>
                <a:close/>
                <a:moveTo>
                  <a:pt x="306" y="156"/>
                </a:moveTo>
                <a:cubicBezTo>
                  <a:pt x="295" y="145"/>
                  <a:pt x="282" y="137"/>
                  <a:pt x="268" y="133"/>
                </a:cubicBezTo>
                <a:cubicBezTo>
                  <a:pt x="253" y="128"/>
                  <a:pt x="239" y="126"/>
                  <a:pt x="224" y="126"/>
                </a:cubicBezTo>
                <a:cubicBezTo>
                  <a:pt x="214" y="130"/>
                  <a:pt x="214" y="130"/>
                  <a:pt x="214" y="130"/>
                </a:cubicBezTo>
                <a:cubicBezTo>
                  <a:pt x="210" y="139"/>
                  <a:pt x="210" y="139"/>
                  <a:pt x="210" y="139"/>
                </a:cubicBezTo>
                <a:cubicBezTo>
                  <a:pt x="214" y="149"/>
                  <a:pt x="214" y="149"/>
                  <a:pt x="214" y="149"/>
                </a:cubicBezTo>
                <a:cubicBezTo>
                  <a:pt x="224" y="154"/>
                  <a:pt x="224" y="154"/>
                  <a:pt x="224" y="154"/>
                </a:cubicBezTo>
                <a:cubicBezTo>
                  <a:pt x="239" y="154"/>
                  <a:pt x="255" y="157"/>
                  <a:pt x="270" y="164"/>
                </a:cubicBezTo>
                <a:cubicBezTo>
                  <a:pt x="286" y="172"/>
                  <a:pt x="294" y="182"/>
                  <a:pt x="294" y="196"/>
                </a:cubicBezTo>
                <a:cubicBezTo>
                  <a:pt x="298" y="205"/>
                  <a:pt x="298" y="205"/>
                  <a:pt x="298" y="205"/>
                </a:cubicBezTo>
                <a:cubicBezTo>
                  <a:pt x="308" y="210"/>
                  <a:pt x="308" y="210"/>
                  <a:pt x="308" y="210"/>
                </a:cubicBezTo>
                <a:cubicBezTo>
                  <a:pt x="318" y="205"/>
                  <a:pt x="318" y="205"/>
                  <a:pt x="318" y="205"/>
                </a:cubicBezTo>
                <a:cubicBezTo>
                  <a:pt x="322" y="196"/>
                  <a:pt x="322" y="196"/>
                  <a:pt x="322" y="196"/>
                </a:cubicBezTo>
                <a:cubicBezTo>
                  <a:pt x="322" y="180"/>
                  <a:pt x="317" y="167"/>
                  <a:pt x="306" y="156"/>
                </a:cubicBez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3" name="Rectangle 12"/>
          <p:cNvSpPr/>
          <p:nvPr/>
        </p:nvSpPr>
        <p:spPr>
          <a:xfrm>
            <a:off x="1573898" y="3597512"/>
            <a:ext cx="4191289" cy="12721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  <a:tabLst>
                <a:tab pos="457200" algn="l"/>
                <a:tab pos="589280" algn="l"/>
              </a:tabLst>
            </a:pP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ypically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,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 champion is the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erson employees of a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group would view as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“in charge”.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he size and complexity of your project will determine the level and quantity of champions required.</a:t>
            </a:r>
          </a:p>
          <a:p>
            <a:pPr algn="ctr">
              <a:spcAft>
                <a:spcPts val="800"/>
              </a:spcAft>
              <a:tabLst>
                <a:tab pos="457200" algn="l"/>
                <a:tab pos="589280" algn="l"/>
              </a:tabLst>
            </a:pP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CA" sz="1400" i="1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9442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08759" y="550861"/>
            <a:ext cx="11623333" cy="835027"/>
          </a:xfrm>
        </p:spPr>
        <p:txBody>
          <a:bodyPr>
            <a:normAutofit/>
          </a:bodyPr>
          <a:lstStyle/>
          <a:p>
            <a:r>
              <a:rPr lang="en-US" dirty="0">
                <a:solidFill>
                  <a:schemeClr val="accent2"/>
                </a:solidFill>
              </a:rPr>
              <a:t>Determine the position of…</a:t>
            </a:r>
            <a:r>
              <a:rPr lang="en-CA" dirty="0" smtClean="0">
                <a:solidFill>
                  <a:schemeClr val="accent3"/>
                </a:solidFill>
              </a:rPr>
              <a:t> </a:t>
            </a:r>
            <a:r>
              <a:rPr lang="en-CA" dirty="0" smtClean="0"/>
              <a:t>the champions</a:t>
            </a:r>
            <a:endParaRPr lang="en-CA" dirty="0">
              <a:solidFill>
                <a:schemeClr val="accent4"/>
              </a:solidFill>
            </a:endParaRPr>
          </a:p>
        </p:txBody>
      </p:sp>
      <p:sp>
        <p:nvSpPr>
          <p:cNvPr id="16" name="Freeform 15" descr="AngleDoubleRight Icon"/>
          <p:cNvSpPr>
            <a:spLocks noEditPoints="1"/>
          </p:cNvSpPr>
          <p:nvPr/>
        </p:nvSpPr>
        <p:spPr bwMode="auto">
          <a:xfrm>
            <a:off x="613485" y="1553609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graphicFrame>
        <p:nvGraphicFramePr>
          <p:cNvPr id="17" name="Table 16" title="blue squar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67777377"/>
              </p:ext>
            </p:extLst>
          </p:nvPr>
        </p:nvGraphicFramePr>
        <p:xfrm>
          <a:off x="1260839" y="1529812"/>
          <a:ext cx="4414685" cy="10175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14685"/>
              </a:tblGrid>
              <a:tr h="101756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7"/>
                        <a:tabLst/>
                        <a:defRPr/>
                      </a:pPr>
                      <a:r>
                        <a:rPr lang="en-US" dirty="0" smtClean="0"/>
                        <a:t>On the “</a:t>
                      </a:r>
                      <a:r>
                        <a:rPr lang="en-US" b="1" dirty="0" smtClean="0"/>
                        <a:t>Assess</a:t>
                      </a:r>
                      <a:r>
                        <a:rPr lang="en-US" b="1" baseline="0" dirty="0" smtClean="0"/>
                        <a:t> the champions</a:t>
                      </a:r>
                      <a:r>
                        <a:rPr lang="en-US" baseline="0" dirty="0" smtClean="0"/>
                        <a:t>”</a:t>
                      </a:r>
                      <a:r>
                        <a:rPr lang="en-US" dirty="0" smtClean="0"/>
                        <a:t> tab, input the position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of each </a:t>
                      </a:r>
                      <a:r>
                        <a:rPr lang="en-US" b="0" dirty="0" smtClean="0"/>
                        <a:t>champion</a:t>
                      </a:r>
                      <a:r>
                        <a:rPr lang="en-US" b="1" baseline="0" dirty="0" smtClean="0"/>
                        <a:t> </a:t>
                      </a:r>
                      <a:r>
                        <a:rPr lang="en-US" dirty="0" smtClean="0"/>
                        <a:t>in column</a:t>
                      </a:r>
                      <a:r>
                        <a:rPr lang="en-US" baseline="0" dirty="0" smtClean="0"/>
                        <a:t> “C”</a:t>
                      </a:r>
                      <a:r>
                        <a:rPr lang="en-US" dirty="0" smtClean="0"/>
                        <a:t>.</a:t>
                      </a:r>
                      <a:endParaRPr lang="en-CA" dirty="0" smtClean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8" name="Freeform 27" descr="linking the text on the left to the image on the right" title="blue arrow"/>
          <p:cNvSpPr>
            <a:spLocks/>
          </p:cNvSpPr>
          <p:nvPr/>
        </p:nvSpPr>
        <p:spPr bwMode="auto">
          <a:xfrm rot="14261012">
            <a:off x="5465803" y="2036815"/>
            <a:ext cx="481610" cy="614221"/>
          </a:xfrm>
          <a:custGeom>
            <a:avLst/>
            <a:gdLst>
              <a:gd name="T0" fmla="*/ 492 w 600"/>
              <a:gd name="T1" fmla="*/ 0 h 1115"/>
              <a:gd name="T2" fmla="*/ 489 w 600"/>
              <a:gd name="T3" fmla="*/ 169 h 1115"/>
              <a:gd name="T4" fmla="*/ 452 w 600"/>
              <a:gd name="T5" fmla="*/ 254 h 1115"/>
              <a:gd name="T6" fmla="*/ 446 w 600"/>
              <a:gd name="T7" fmla="*/ 265 h 1115"/>
              <a:gd name="T8" fmla="*/ 143 w 600"/>
              <a:gd name="T9" fmla="*/ 930 h 1115"/>
              <a:gd name="T10" fmla="*/ 210 w 600"/>
              <a:gd name="T11" fmla="*/ 874 h 1115"/>
              <a:gd name="T12" fmla="*/ 364 w 600"/>
              <a:gd name="T13" fmla="*/ 769 h 1115"/>
              <a:gd name="T14" fmla="*/ 390 w 600"/>
              <a:gd name="T15" fmla="*/ 807 h 1115"/>
              <a:gd name="T16" fmla="*/ 387 w 600"/>
              <a:gd name="T17" fmla="*/ 813 h 1115"/>
              <a:gd name="T18" fmla="*/ 256 w 600"/>
              <a:gd name="T19" fmla="*/ 915 h 1115"/>
              <a:gd name="T20" fmla="*/ 259 w 600"/>
              <a:gd name="T21" fmla="*/ 924 h 1115"/>
              <a:gd name="T22" fmla="*/ 247 w 600"/>
              <a:gd name="T23" fmla="*/ 941 h 1115"/>
              <a:gd name="T24" fmla="*/ 207 w 600"/>
              <a:gd name="T25" fmla="*/ 979 h 1115"/>
              <a:gd name="T26" fmla="*/ 58 w 600"/>
              <a:gd name="T27" fmla="*/ 1108 h 1115"/>
              <a:gd name="T28" fmla="*/ 0 w 600"/>
              <a:gd name="T29" fmla="*/ 1081 h 1115"/>
              <a:gd name="T30" fmla="*/ 41 w 600"/>
              <a:gd name="T31" fmla="*/ 1038 h 1115"/>
              <a:gd name="T32" fmla="*/ 23 w 600"/>
              <a:gd name="T33" fmla="*/ 927 h 1115"/>
              <a:gd name="T34" fmla="*/ 35 w 600"/>
              <a:gd name="T35" fmla="*/ 909 h 1115"/>
              <a:gd name="T36" fmla="*/ 26 w 600"/>
              <a:gd name="T37" fmla="*/ 667 h 1115"/>
              <a:gd name="T38" fmla="*/ 90 w 600"/>
              <a:gd name="T39" fmla="*/ 909 h 1115"/>
              <a:gd name="T40" fmla="*/ 145 w 600"/>
              <a:gd name="T41" fmla="*/ 799 h 1115"/>
              <a:gd name="T42" fmla="*/ 169 w 600"/>
              <a:gd name="T43" fmla="*/ 772 h 1115"/>
              <a:gd name="T44" fmla="*/ 180 w 600"/>
              <a:gd name="T45" fmla="*/ 737 h 1115"/>
              <a:gd name="T46" fmla="*/ 204 w 600"/>
              <a:gd name="T47" fmla="*/ 702 h 1115"/>
              <a:gd name="T48" fmla="*/ 210 w 600"/>
              <a:gd name="T49" fmla="*/ 670 h 1115"/>
              <a:gd name="T50" fmla="*/ 224 w 600"/>
              <a:gd name="T51" fmla="*/ 665 h 1115"/>
              <a:gd name="T52" fmla="*/ 215 w 600"/>
              <a:gd name="T53" fmla="*/ 665 h 1115"/>
              <a:gd name="T54" fmla="*/ 230 w 600"/>
              <a:gd name="T55" fmla="*/ 647 h 1115"/>
              <a:gd name="T56" fmla="*/ 230 w 600"/>
              <a:gd name="T57" fmla="*/ 627 h 1115"/>
              <a:gd name="T58" fmla="*/ 239 w 600"/>
              <a:gd name="T59" fmla="*/ 627 h 1115"/>
              <a:gd name="T60" fmla="*/ 236 w 600"/>
              <a:gd name="T61" fmla="*/ 615 h 1115"/>
              <a:gd name="T62" fmla="*/ 239 w 600"/>
              <a:gd name="T63" fmla="*/ 621 h 1115"/>
              <a:gd name="T64" fmla="*/ 242 w 600"/>
              <a:gd name="T65" fmla="*/ 597 h 1115"/>
              <a:gd name="T66" fmla="*/ 259 w 600"/>
              <a:gd name="T67" fmla="*/ 577 h 1115"/>
              <a:gd name="T68" fmla="*/ 262 w 600"/>
              <a:gd name="T69" fmla="*/ 554 h 1115"/>
              <a:gd name="T70" fmla="*/ 277 w 600"/>
              <a:gd name="T71" fmla="*/ 536 h 1115"/>
              <a:gd name="T72" fmla="*/ 282 w 600"/>
              <a:gd name="T73" fmla="*/ 525 h 1115"/>
              <a:gd name="T74" fmla="*/ 303 w 600"/>
              <a:gd name="T75" fmla="*/ 472 h 1115"/>
              <a:gd name="T76" fmla="*/ 320 w 600"/>
              <a:gd name="T77" fmla="*/ 449 h 1115"/>
              <a:gd name="T78" fmla="*/ 352 w 600"/>
              <a:gd name="T79" fmla="*/ 350 h 1115"/>
              <a:gd name="T80" fmla="*/ 370 w 600"/>
              <a:gd name="T81" fmla="*/ 332 h 1115"/>
              <a:gd name="T82" fmla="*/ 385 w 600"/>
              <a:gd name="T83" fmla="*/ 283 h 1115"/>
              <a:gd name="T84" fmla="*/ 472 w 600"/>
              <a:gd name="T85" fmla="*/ 67 h 1115"/>
              <a:gd name="T86" fmla="*/ 492 w 600"/>
              <a:gd name="T87" fmla="*/ 0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0" h="1115">
                <a:moveTo>
                  <a:pt x="492" y="0"/>
                </a:moveTo>
                <a:cubicBezTo>
                  <a:pt x="600" y="3"/>
                  <a:pt x="508" y="123"/>
                  <a:pt x="489" y="169"/>
                </a:cubicBezTo>
                <a:cubicBezTo>
                  <a:pt x="478" y="199"/>
                  <a:pt x="468" y="228"/>
                  <a:pt x="452" y="254"/>
                </a:cubicBezTo>
                <a:cubicBezTo>
                  <a:pt x="451" y="255"/>
                  <a:pt x="446" y="264"/>
                  <a:pt x="446" y="265"/>
                </a:cubicBezTo>
                <a:cubicBezTo>
                  <a:pt x="360" y="478"/>
                  <a:pt x="239" y="724"/>
                  <a:pt x="143" y="930"/>
                </a:cubicBezTo>
                <a:cubicBezTo>
                  <a:pt x="171" y="911"/>
                  <a:pt x="177" y="886"/>
                  <a:pt x="210" y="874"/>
                </a:cubicBezTo>
                <a:cubicBezTo>
                  <a:pt x="251" y="829"/>
                  <a:pt x="291" y="783"/>
                  <a:pt x="364" y="769"/>
                </a:cubicBezTo>
                <a:cubicBezTo>
                  <a:pt x="376" y="779"/>
                  <a:pt x="394" y="782"/>
                  <a:pt x="390" y="807"/>
                </a:cubicBezTo>
                <a:cubicBezTo>
                  <a:pt x="388" y="808"/>
                  <a:pt x="388" y="811"/>
                  <a:pt x="387" y="813"/>
                </a:cubicBezTo>
                <a:cubicBezTo>
                  <a:pt x="335" y="837"/>
                  <a:pt x="285" y="878"/>
                  <a:pt x="256" y="915"/>
                </a:cubicBezTo>
                <a:cubicBezTo>
                  <a:pt x="250" y="914"/>
                  <a:pt x="257" y="924"/>
                  <a:pt x="259" y="924"/>
                </a:cubicBezTo>
                <a:cubicBezTo>
                  <a:pt x="258" y="931"/>
                  <a:pt x="241" y="937"/>
                  <a:pt x="247" y="941"/>
                </a:cubicBezTo>
                <a:cubicBezTo>
                  <a:pt x="238" y="947"/>
                  <a:pt x="207" y="949"/>
                  <a:pt x="207" y="979"/>
                </a:cubicBezTo>
                <a:cubicBezTo>
                  <a:pt x="162" y="991"/>
                  <a:pt x="106" y="1089"/>
                  <a:pt x="58" y="1108"/>
                </a:cubicBezTo>
                <a:cubicBezTo>
                  <a:pt x="39" y="1115"/>
                  <a:pt x="5" y="1104"/>
                  <a:pt x="0" y="1081"/>
                </a:cubicBezTo>
                <a:cubicBezTo>
                  <a:pt x="3" y="1070"/>
                  <a:pt x="43" y="1048"/>
                  <a:pt x="41" y="1038"/>
                </a:cubicBezTo>
                <a:cubicBezTo>
                  <a:pt x="32" y="1008"/>
                  <a:pt x="42" y="944"/>
                  <a:pt x="23" y="927"/>
                </a:cubicBezTo>
                <a:cubicBezTo>
                  <a:pt x="25" y="919"/>
                  <a:pt x="31" y="916"/>
                  <a:pt x="35" y="909"/>
                </a:cubicBezTo>
                <a:cubicBezTo>
                  <a:pt x="34" y="840"/>
                  <a:pt x="38" y="733"/>
                  <a:pt x="26" y="667"/>
                </a:cubicBezTo>
                <a:cubicBezTo>
                  <a:pt x="139" y="635"/>
                  <a:pt x="82" y="842"/>
                  <a:pt x="90" y="909"/>
                </a:cubicBezTo>
                <a:cubicBezTo>
                  <a:pt x="114" y="885"/>
                  <a:pt x="134" y="835"/>
                  <a:pt x="145" y="799"/>
                </a:cubicBezTo>
                <a:cubicBezTo>
                  <a:pt x="157" y="810"/>
                  <a:pt x="148" y="773"/>
                  <a:pt x="169" y="772"/>
                </a:cubicBezTo>
                <a:cubicBezTo>
                  <a:pt x="158" y="762"/>
                  <a:pt x="177" y="744"/>
                  <a:pt x="180" y="737"/>
                </a:cubicBezTo>
                <a:cubicBezTo>
                  <a:pt x="187" y="725"/>
                  <a:pt x="189" y="701"/>
                  <a:pt x="204" y="702"/>
                </a:cubicBezTo>
                <a:cubicBezTo>
                  <a:pt x="200" y="686"/>
                  <a:pt x="218" y="673"/>
                  <a:pt x="210" y="670"/>
                </a:cubicBezTo>
                <a:cubicBezTo>
                  <a:pt x="213" y="656"/>
                  <a:pt x="221" y="679"/>
                  <a:pt x="224" y="665"/>
                </a:cubicBezTo>
                <a:cubicBezTo>
                  <a:pt x="221" y="656"/>
                  <a:pt x="221" y="674"/>
                  <a:pt x="215" y="665"/>
                </a:cubicBezTo>
                <a:cubicBezTo>
                  <a:pt x="220" y="647"/>
                  <a:pt x="218" y="652"/>
                  <a:pt x="230" y="647"/>
                </a:cubicBezTo>
                <a:cubicBezTo>
                  <a:pt x="227" y="647"/>
                  <a:pt x="222" y="633"/>
                  <a:pt x="230" y="627"/>
                </a:cubicBezTo>
                <a:cubicBezTo>
                  <a:pt x="231" y="626"/>
                  <a:pt x="238" y="628"/>
                  <a:pt x="239" y="627"/>
                </a:cubicBezTo>
                <a:cubicBezTo>
                  <a:pt x="241" y="622"/>
                  <a:pt x="233" y="620"/>
                  <a:pt x="236" y="615"/>
                </a:cubicBezTo>
                <a:cubicBezTo>
                  <a:pt x="237" y="613"/>
                  <a:pt x="240" y="620"/>
                  <a:pt x="239" y="621"/>
                </a:cubicBezTo>
                <a:cubicBezTo>
                  <a:pt x="246" y="618"/>
                  <a:pt x="238" y="608"/>
                  <a:pt x="242" y="597"/>
                </a:cubicBezTo>
                <a:cubicBezTo>
                  <a:pt x="244" y="591"/>
                  <a:pt x="254" y="586"/>
                  <a:pt x="259" y="577"/>
                </a:cubicBezTo>
                <a:cubicBezTo>
                  <a:pt x="262" y="571"/>
                  <a:pt x="260" y="559"/>
                  <a:pt x="262" y="554"/>
                </a:cubicBezTo>
                <a:cubicBezTo>
                  <a:pt x="266" y="543"/>
                  <a:pt x="277" y="538"/>
                  <a:pt x="277" y="536"/>
                </a:cubicBezTo>
                <a:cubicBezTo>
                  <a:pt x="277" y="534"/>
                  <a:pt x="271" y="521"/>
                  <a:pt x="282" y="525"/>
                </a:cubicBezTo>
                <a:cubicBezTo>
                  <a:pt x="282" y="508"/>
                  <a:pt x="306" y="493"/>
                  <a:pt x="303" y="472"/>
                </a:cubicBezTo>
                <a:cubicBezTo>
                  <a:pt x="306" y="462"/>
                  <a:pt x="314" y="456"/>
                  <a:pt x="320" y="449"/>
                </a:cubicBezTo>
                <a:cubicBezTo>
                  <a:pt x="332" y="418"/>
                  <a:pt x="335" y="385"/>
                  <a:pt x="352" y="350"/>
                </a:cubicBezTo>
                <a:cubicBezTo>
                  <a:pt x="350" y="354"/>
                  <a:pt x="368" y="337"/>
                  <a:pt x="370" y="332"/>
                </a:cubicBezTo>
                <a:cubicBezTo>
                  <a:pt x="377" y="318"/>
                  <a:pt x="378" y="298"/>
                  <a:pt x="385" y="283"/>
                </a:cubicBezTo>
                <a:cubicBezTo>
                  <a:pt x="414" y="212"/>
                  <a:pt x="449" y="139"/>
                  <a:pt x="472" y="67"/>
                </a:cubicBezTo>
                <a:cubicBezTo>
                  <a:pt x="479" y="46"/>
                  <a:pt x="488" y="24"/>
                  <a:pt x="492" y="0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pic>
        <p:nvPicPr>
          <p:cNvPr id="4" name="Picture 3" descr="highlight the champion potition relative to change column, A = supportive and B = neutral or opposed" title="Screen capture of the assess the champions tab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00107" y="1529813"/>
            <a:ext cx="5592421" cy="1540862"/>
          </a:xfrm>
          <a:prstGeom prst="rect">
            <a:avLst/>
          </a:prstGeom>
        </p:spPr>
      </p:pic>
      <p:sp>
        <p:nvSpPr>
          <p:cNvPr id="25" name="Freeform 24" descr="highlight the champion potition relative to change column" title="black circle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9507984" y="1949337"/>
            <a:ext cx="2464111" cy="886255"/>
          </a:xfrm>
          <a:custGeom>
            <a:avLst/>
            <a:gdLst>
              <a:gd name="T0" fmla="*/ 274 w 326"/>
              <a:gd name="T1" fmla="*/ 34 h 180"/>
              <a:gd name="T2" fmla="*/ 209 w 326"/>
              <a:gd name="T3" fmla="*/ 11 h 180"/>
              <a:gd name="T4" fmla="*/ 63 w 326"/>
              <a:gd name="T5" fmla="*/ 43 h 180"/>
              <a:gd name="T6" fmla="*/ 18 w 326"/>
              <a:gd name="T7" fmla="*/ 101 h 180"/>
              <a:gd name="T8" fmla="*/ 39 w 326"/>
              <a:gd name="T9" fmla="*/ 145 h 180"/>
              <a:gd name="T10" fmla="*/ 97 w 326"/>
              <a:gd name="T11" fmla="*/ 158 h 180"/>
              <a:gd name="T12" fmla="*/ 246 w 326"/>
              <a:gd name="T13" fmla="*/ 144 h 180"/>
              <a:gd name="T14" fmla="*/ 294 w 326"/>
              <a:gd name="T15" fmla="*/ 118 h 180"/>
              <a:gd name="T16" fmla="*/ 291 w 326"/>
              <a:gd name="T17" fmla="*/ 71 h 180"/>
              <a:gd name="T18" fmla="*/ 227 w 326"/>
              <a:gd name="T19" fmla="*/ 48 h 180"/>
              <a:gd name="T20" fmla="*/ 208 w 326"/>
              <a:gd name="T21" fmla="*/ 42 h 180"/>
              <a:gd name="T22" fmla="*/ 202 w 326"/>
              <a:gd name="T23" fmla="*/ 32 h 180"/>
              <a:gd name="T24" fmla="*/ 213 w 326"/>
              <a:gd name="T25" fmla="*/ 26 h 180"/>
              <a:gd name="T26" fmla="*/ 283 w 326"/>
              <a:gd name="T27" fmla="*/ 50 h 180"/>
              <a:gd name="T28" fmla="*/ 311 w 326"/>
              <a:gd name="T29" fmla="*/ 71 h 180"/>
              <a:gd name="T30" fmla="*/ 317 w 326"/>
              <a:gd name="T31" fmla="*/ 115 h 180"/>
              <a:gd name="T32" fmla="*/ 276 w 326"/>
              <a:gd name="T33" fmla="*/ 152 h 180"/>
              <a:gd name="T34" fmla="*/ 194 w 326"/>
              <a:gd name="T35" fmla="*/ 174 h 180"/>
              <a:gd name="T36" fmla="*/ 54 w 326"/>
              <a:gd name="T37" fmla="*/ 165 h 180"/>
              <a:gd name="T38" fmla="*/ 29 w 326"/>
              <a:gd name="T39" fmla="*/ 154 h 180"/>
              <a:gd name="T40" fmla="*/ 5 w 326"/>
              <a:gd name="T41" fmla="*/ 100 h 180"/>
              <a:gd name="T42" fmla="*/ 49 w 326"/>
              <a:gd name="T43" fmla="*/ 38 h 180"/>
              <a:gd name="T44" fmla="*/ 149 w 326"/>
              <a:gd name="T45" fmla="*/ 4 h 180"/>
              <a:gd name="T46" fmla="*/ 242 w 326"/>
              <a:gd name="T47" fmla="*/ 10 h 180"/>
              <a:gd name="T48" fmla="*/ 274 w 326"/>
              <a:gd name="T49" fmla="*/ 3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6" h="180">
                <a:moveTo>
                  <a:pt x="274" y="34"/>
                </a:moveTo>
                <a:cubicBezTo>
                  <a:pt x="256" y="14"/>
                  <a:pt x="232" y="12"/>
                  <a:pt x="209" y="11"/>
                </a:cubicBezTo>
                <a:cubicBezTo>
                  <a:pt x="158" y="8"/>
                  <a:pt x="108" y="15"/>
                  <a:pt x="63" y="43"/>
                </a:cubicBezTo>
                <a:cubicBezTo>
                  <a:pt x="41" y="57"/>
                  <a:pt x="24" y="75"/>
                  <a:pt x="18" y="101"/>
                </a:cubicBezTo>
                <a:cubicBezTo>
                  <a:pt x="13" y="121"/>
                  <a:pt x="19" y="138"/>
                  <a:pt x="39" y="145"/>
                </a:cubicBezTo>
                <a:cubicBezTo>
                  <a:pt x="57" y="151"/>
                  <a:pt x="77" y="155"/>
                  <a:pt x="97" y="158"/>
                </a:cubicBezTo>
                <a:cubicBezTo>
                  <a:pt x="147" y="164"/>
                  <a:pt x="197" y="160"/>
                  <a:pt x="246" y="144"/>
                </a:cubicBezTo>
                <a:cubicBezTo>
                  <a:pt x="263" y="138"/>
                  <a:pt x="280" y="131"/>
                  <a:pt x="294" y="118"/>
                </a:cubicBezTo>
                <a:cubicBezTo>
                  <a:pt x="314" y="101"/>
                  <a:pt x="313" y="86"/>
                  <a:pt x="291" y="71"/>
                </a:cubicBezTo>
                <a:cubicBezTo>
                  <a:pt x="272" y="58"/>
                  <a:pt x="249" y="53"/>
                  <a:pt x="227" y="48"/>
                </a:cubicBezTo>
                <a:cubicBezTo>
                  <a:pt x="220" y="46"/>
                  <a:pt x="214" y="44"/>
                  <a:pt x="208" y="42"/>
                </a:cubicBezTo>
                <a:cubicBezTo>
                  <a:pt x="203" y="41"/>
                  <a:pt x="200" y="37"/>
                  <a:pt x="202" y="32"/>
                </a:cubicBezTo>
                <a:cubicBezTo>
                  <a:pt x="203" y="27"/>
                  <a:pt x="207" y="24"/>
                  <a:pt x="213" y="26"/>
                </a:cubicBezTo>
                <a:cubicBezTo>
                  <a:pt x="236" y="34"/>
                  <a:pt x="260" y="41"/>
                  <a:pt x="283" y="50"/>
                </a:cubicBezTo>
                <a:cubicBezTo>
                  <a:pt x="293" y="55"/>
                  <a:pt x="303" y="63"/>
                  <a:pt x="311" y="71"/>
                </a:cubicBezTo>
                <a:cubicBezTo>
                  <a:pt x="324" y="84"/>
                  <a:pt x="326" y="99"/>
                  <a:pt x="317" y="115"/>
                </a:cubicBezTo>
                <a:cubicBezTo>
                  <a:pt x="308" y="132"/>
                  <a:pt x="293" y="143"/>
                  <a:pt x="276" y="152"/>
                </a:cubicBezTo>
                <a:cubicBezTo>
                  <a:pt x="251" y="165"/>
                  <a:pt x="223" y="171"/>
                  <a:pt x="194" y="174"/>
                </a:cubicBezTo>
                <a:cubicBezTo>
                  <a:pt x="147" y="180"/>
                  <a:pt x="100" y="176"/>
                  <a:pt x="54" y="165"/>
                </a:cubicBezTo>
                <a:cubicBezTo>
                  <a:pt x="45" y="162"/>
                  <a:pt x="37" y="159"/>
                  <a:pt x="29" y="154"/>
                </a:cubicBezTo>
                <a:cubicBezTo>
                  <a:pt x="8" y="143"/>
                  <a:pt x="0" y="122"/>
                  <a:pt x="5" y="100"/>
                </a:cubicBezTo>
                <a:cubicBezTo>
                  <a:pt x="11" y="73"/>
                  <a:pt x="27" y="53"/>
                  <a:pt x="49" y="38"/>
                </a:cubicBezTo>
                <a:cubicBezTo>
                  <a:pt x="79" y="18"/>
                  <a:pt x="113" y="8"/>
                  <a:pt x="149" y="4"/>
                </a:cubicBezTo>
                <a:cubicBezTo>
                  <a:pt x="180" y="0"/>
                  <a:pt x="212" y="2"/>
                  <a:pt x="242" y="10"/>
                </a:cubicBezTo>
                <a:cubicBezTo>
                  <a:pt x="260" y="15"/>
                  <a:pt x="269" y="22"/>
                  <a:pt x="274" y="34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9" name="Freeform 18" descr="highlight the champion potition relative to change column" title="black arrow"/>
          <p:cNvSpPr>
            <a:spLocks/>
          </p:cNvSpPr>
          <p:nvPr/>
        </p:nvSpPr>
        <p:spPr bwMode="auto">
          <a:xfrm rot="19786510">
            <a:off x="11169600" y="2445428"/>
            <a:ext cx="481610" cy="614221"/>
          </a:xfrm>
          <a:custGeom>
            <a:avLst/>
            <a:gdLst>
              <a:gd name="T0" fmla="*/ 492 w 600"/>
              <a:gd name="T1" fmla="*/ 0 h 1115"/>
              <a:gd name="T2" fmla="*/ 489 w 600"/>
              <a:gd name="T3" fmla="*/ 169 h 1115"/>
              <a:gd name="T4" fmla="*/ 452 w 600"/>
              <a:gd name="T5" fmla="*/ 254 h 1115"/>
              <a:gd name="T6" fmla="*/ 446 w 600"/>
              <a:gd name="T7" fmla="*/ 265 h 1115"/>
              <a:gd name="T8" fmla="*/ 143 w 600"/>
              <a:gd name="T9" fmla="*/ 930 h 1115"/>
              <a:gd name="T10" fmla="*/ 210 w 600"/>
              <a:gd name="T11" fmla="*/ 874 h 1115"/>
              <a:gd name="T12" fmla="*/ 364 w 600"/>
              <a:gd name="T13" fmla="*/ 769 h 1115"/>
              <a:gd name="T14" fmla="*/ 390 w 600"/>
              <a:gd name="T15" fmla="*/ 807 h 1115"/>
              <a:gd name="T16" fmla="*/ 387 w 600"/>
              <a:gd name="T17" fmla="*/ 813 h 1115"/>
              <a:gd name="T18" fmla="*/ 256 w 600"/>
              <a:gd name="T19" fmla="*/ 915 h 1115"/>
              <a:gd name="T20" fmla="*/ 259 w 600"/>
              <a:gd name="T21" fmla="*/ 924 h 1115"/>
              <a:gd name="T22" fmla="*/ 247 w 600"/>
              <a:gd name="T23" fmla="*/ 941 h 1115"/>
              <a:gd name="T24" fmla="*/ 207 w 600"/>
              <a:gd name="T25" fmla="*/ 979 h 1115"/>
              <a:gd name="T26" fmla="*/ 58 w 600"/>
              <a:gd name="T27" fmla="*/ 1108 h 1115"/>
              <a:gd name="T28" fmla="*/ 0 w 600"/>
              <a:gd name="T29" fmla="*/ 1081 h 1115"/>
              <a:gd name="T30" fmla="*/ 41 w 600"/>
              <a:gd name="T31" fmla="*/ 1038 h 1115"/>
              <a:gd name="T32" fmla="*/ 23 w 600"/>
              <a:gd name="T33" fmla="*/ 927 h 1115"/>
              <a:gd name="T34" fmla="*/ 35 w 600"/>
              <a:gd name="T35" fmla="*/ 909 h 1115"/>
              <a:gd name="T36" fmla="*/ 26 w 600"/>
              <a:gd name="T37" fmla="*/ 667 h 1115"/>
              <a:gd name="T38" fmla="*/ 90 w 600"/>
              <a:gd name="T39" fmla="*/ 909 h 1115"/>
              <a:gd name="T40" fmla="*/ 145 w 600"/>
              <a:gd name="T41" fmla="*/ 799 h 1115"/>
              <a:gd name="T42" fmla="*/ 169 w 600"/>
              <a:gd name="T43" fmla="*/ 772 h 1115"/>
              <a:gd name="T44" fmla="*/ 180 w 600"/>
              <a:gd name="T45" fmla="*/ 737 h 1115"/>
              <a:gd name="T46" fmla="*/ 204 w 600"/>
              <a:gd name="T47" fmla="*/ 702 h 1115"/>
              <a:gd name="T48" fmla="*/ 210 w 600"/>
              <a:gd name="T49" fmla="*/ 670 h 1115"/>
              <a:gd name="T50" fmla="*/ 224 w 600"/>
              <a:gd name="T51" fmla="*/ 665 h 1115"/>
              <a:gd name="T52" fmla="*/ 215 w 600"/>
              <a:gd name="T53" fmla="*/ 665 h 1115"/>
              <a:gd name="T54" fmla="*/ 230 w 600"/>
              <a:gd name="T55" fmla="*/ 647 h 1115"/>
              <a:gd name="T56" fmla="*/ 230 w 600"/>
              <a:gd name="T57" fmla="*/ 627 h 1115"/>
              <a:gd name="T58" fmla="*/ 239 w 600"/>
              <a:gd name="T59" fmla="*/ 627 h 1115"/>
              <a:gd name="T60" fmla="*/ 236 w 600"/>
              <a:gd name="T61" fmla="*/ 615 h 1115"/>
              <a:gd name="T62" fmla="*/ 239 w 600"/>
              <a:gd name="T63" fmla="*/ 621 h 1115"/>
              <a:gd name="T64" fmla="*/ 242 w 600"/>
              <a:gd name="T65" fmla="*/ 597 h 1115"/>
              <a:gd name="T66" fmla="*/ 259 w 600"/>
              <a:gd name="T67" fmla="*/ 577 h 1115"/>
              <a:gd name="T68" fmla="*/ 262 w 600"/>
              <a:gd name="T69" fmla="*/ 554 h 1115"/>
              <a:gd name="T70" fmla="*/ 277 w 600"/>
              <a:gd name="T71" fmla="*/ 536 h 1115"/>
              <a:gd name="T72" fmla="*/ 282 w 600"/>
              <a:gd name="T73" fmla="*/ 525 h 1115"/>
              <a:gd name="T74" fmla="*/ 303 w 600"/>
              <a:gd name="T75" fmla="*/ 472 h 1115"/>
              <a:gd name="T76" fmla="*/ 320 w 600"/>
              <a:gd name="T77" fmla="*/ 449 h 1115"/>
              <a:gd name="T78" fmla="*/ 352 w 600"/>
              <a:gd name="T79" fmla="*/ 350 h 1115"/>
              <a:gd name="T80" fmla="*/ 370 w 600"/>
              <a:gd name="T81" fmla="*/ 332 h 1115"/>
              <a:gd name="T82" fmla="*/ 385 w 600"/>
              <a:gd name="T83" fmla="*/ 283 h 1115"/>
              <a:gd name="T84" fmla="*/ 472 w 600"/>
              <a:gd name="T85" fmla="*/ 67 h 1115"/>
              <a:gd name="T86" fmla="*/ 492 w 600"/>
              <a:gd name="T87" fmla="*/ 0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0" h="1115">
                <a:moveTo>
                  <a:pt x="492" y="0"/>
                </a:moveTo>
                <a:cubicBezTo>
                  <a:pt x="600" y="3"/>
                  <a:pt x="508" y="123"/>
                  <a:pt x="489" y="169"/>
                </a:cubicBezTo>
                <a:cubicBezTo>
                  <a:pt x="478" y="199"/>
                  <a:pt x="468" y="228"/>
                  <a:pt x="452" y="254"/>
                </a:cubicBezTo>
                <a:cubicBezTo>
                  <a:pt x="451" y="255"/>
                  <a:pt x="446" y="264"/>
                  <a:pt x="446" y="265"/>
                </a:cubicBezTo>
                <a:cubicBezTo>
                  <a:pt x="360" y="478"/>
                  <a:pt x="239" y="724"/>
                  <a:pt x="143" y="930"/>
                </a:cubicBezTo>
                <a:cubicBezTo>
                  <a:pt x="171" y="911"/>
                  <a:pt x="177" y="886"/>
                  <a:pt x="210" y="874"/>
                </a:cubicBezTo>
                <a:cubicBezTo>
                  <a:pt x="251" y="829"/>
                  <a:pt x="291" y="783"/>
                  <a:pt x="364" y="769"/>
                </a:cubicBezTo>
                <a:cubicBezTo>
                  <a:pt x="376" y="779"/>
                  <a:pt x="394" y="782"/>
                  <a:pt x="390" y="807"/>
                </a:cubicBezTo>
                <a:cubicBezTo>
                  <a:pt x="388" y="808"/>
                  <a:pt x="388" y="811"/>
                  <a:pt x="387" y="813"/>
                </a:cubicBezTo>
                <a:cubicBezTo>
                  <a:pt x="335" y="837"/>
                  <a:pt x="285" y="878"/>
                  <a:pt x="256" y="915"/>
                </a:cubicBezTo>
                <a:cubicBezTo>
                  <a:pt x="250" y="914"/>
                  <a:pt x="257" y="924"/>
                  <a:pt x="259" y="924"/>
                </a:cubicBezTo>
                <a:cubicBezTo>
                  <a:pt x="258" y="931"/>
                  <a:pt x="241" y="937"/>
                  <a:pt x="247" y="941"/>
                </a:cubicBezTo>
                <a:cubicBezTo>
                  <a:pt x="238" y="947"/>
                  <a:pt x="207" y="949"/>
                  <a:pt x="207" y="979"/>
                </a:cubicBezTo>
                <a:cubicBezTo>
                  <a:pt x="162" y="991"/>
                  <a:pt x="106" y="1089"/>
                  <a:pt x="58" y="1108"/>
                </a:cubicBezTo>
                <a:cubicBezTo>
                  <a:pt x="39" y="1115"/>
                  <a:pt x="5" y="1104"/>
                  <a:pt x="0" y="1081"/>
                </a:cubicBezTo>
                <a:cubicBezTo>
                  <a:pt x="3" y="1070"/>
                  <a:pt x="43" y="1048"/>
                  <a:pt x="41" y="1038"/>
                </a:cubicBezTo>
                <a:cubicBezTo>
                  <a:pt x="32" y="1008"/>
                  <a:pt x="42" y="944"/>
                  <a:pt x="23" y="927"/>
                </a:cubicBezTo>
                <a:cubicBezTo>
                  <a:pt x="25" y="919"/>
                  <a:pt x="31" y="916"/>
                  <a:pt x="35" y="909"/>
                </a:cubicBezTo>
                <a:cubicBezTo>
                  <a:pt x="34" y="840"/>
                  <a:pt x="38" y="733"/>
                  <a:pt x="26" y="667"/>
                </a:cubicBezTo>
                <a:cubicBezTo>
                  <a:pt x="139" y="635"/>
                  <a:pt x="82" y="842"/>
                  <a:pt x="90" y="909"/>
                </a:cubicBezTo>
                <a:cubicBezTo>
                  <a:pt x="114" y="885"/>
                  <a:pt x="134" y="835"/>
                  <a:pt x="145" y="799"/>
                </a:cubicBezTo>
                <a:cubicBezTo>
                  <a:pt x="157" y="810"/>
                  <a:pt x="148" y="773"/>
                  <a:pt x="169" y="772"/>
                </a:cubicBezTo>
                <a:cubicBezTo>
                  <a:pt x="158" y="762"/>
                  <a:pt x="177" y="744"/>
                  <a:pt x="180" y="737"/>
                </a:cubicBezTo>
                <a:cubicBezTo>
                  <a:pt x="187" y="725"/>
                  <a:pt x="189" y="701"/>
                  <a:pt x="204" y="702"/>
                </a:cubicBezTo>
                <a:cubicBezTo>
                  <a:pt x="200" y="686"/>
                  <a:pt x="218" y="673"/>
                  <a:pt x="210" y="670"/>
                </a:cubicBezTo>
                <a:cubicBezTo>
                  <a:pt x="213" y="656"/>
                  <a:pt x="221" y="679"/>
                  <a:pt x="224" y="665"/>
                </a:cubicBezTo>
                <a:cubicBezTo>
                  <a:pt x="221" y="656"/>
                  <a:pt x="221" y="674"/>
                  <a:pt x="215" y="665"/>
                </a:cubicBezTo>
                <a:cubicBezTo>
                  <a:pt x="220" y="647"/>
                  <a:pt x="218" y="652"/>
                  <a:pt x="230" y="647"/>
                </a:cubicBezTo>
                <a:cubicBezTo>
                  <a:pt x="227" y="647"/>
                  <a:pt x="222" y="633"/>
                  <a:pt x="230" y="627"/>
                </a:cubicBezTo>
                <a:cubicBezTo>
                  <a:pt x="231" y="626"/>
                  <a:pt x="238" y="628"/>
                  <a:pt x="239" y="627"/>
                </a:cubicBezTo>
                <a:cubicBezTo>
                  <a:pt x="241" y="622"/>
                  <a:pt x="233" y="620"/>
                  <a:pt x="236" y="615"/>
                </a:cubicBezTo>
                <a:cubicBezTo>
                  <a:pt x="237" y="613"/>
                  <a:pt x="240" y="620"/>
                  <a:pt x="239" y="621"/>
                </a:cubicBezTo>
                <a:cubicBezTo>
                  <a:pt x="246" y="618"/>
                  <a:pt x="238" y="608"/>
                  <a:pt x="242" y="597"/>
                </a:cubicBezTo>
                <a:cubicBezTo>
                  <a:pt x="244" y="591"/>
                  <a:pt x="254" y="586"/>
                  <a:pt x="259" y="577"/>
                </a:cubicBezTo>
                <a:cubicBezTo>
                  <a:pt x="262" y="571"/>
                  <a:pt x="260" y="559"/>
                  <a:pt x="262" y="554"/>
                </a:cubicBezTo>
                <a:cubicBezTo>
                  <a:pt x="266" y="543"/>
                  <a:pt x="277" y="538"/>
                  <a:pt x="277" y="536"/>
                </a:cubicBezTo>
                <a:cubicBezTo>
                  <a:pt x="277" y="534"/>
                  <a:pt x="271" y="521"/>
                  <a:pt x="282" y="525"/>
                </a:cubicBezTo>
                <a:cubicBezTo>
                  <a:pt x="282" y="508"/>
                  <a:pt x="306" y="493"/>
                  <a:pt x="303" y="472"/>
                </a:cubicBezTo>
                <a:cubicBezTo>
                  <a:pt x="306" y="462"/>
                  <a:pt x="314" y="456"/>
                  <a:pt x="320" y="449"/>
                </a:cubicBezTo>
                <a:cubicBezTo>
                  <a:pt x="332" y="418"/>
                  <a:pt x="335" y="385"/>
                  <a:pt x="352" y="350"/>
                </a:cubicBezTo>
                <a:cubicBezTo>
                  <a:pt x="350" y="354"/>
                  <a:pt x="368" y="337"/>
                  <a:pt x="370" y="332"/>
                </a:cubicBezTo>
                <a:cubicBezTo>
                  <a:pt x="377" y="318"/>
                  <a:pt x="378" y="298"/>
                  <a:pt x="385" y="283"/>
                </a:cubicBezTo>
                <a:cubicBezTo>
                  <a:pt x="414" y="212"/>
                  <a:pt x="449" y="139"/>
                  <a:pt x="472" y="67"/>
                </a:cubicBezTo>
                <a:cubicBezTo>
                  <a:pt x="479" y="46"/>
                  <a:pt x="488" y="24"/>
                  <a:pt x="492" y="0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graphicFrame>
        <p:nvGraphicFramePr>
          <p:cNvPr id="18" name="Table 17" title="white box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65891769"/>
              </p:ext>
            </p:extLst>
          </p:nvPr>
        </p:nvGraphicFramePr>
        <p:xfrm>
          <a:off x="1243893" y="3308351"/>
          <a:ext cx="5076532" cy="20768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76532"/>
              </a:tblGrid>
              <a:tr h="538029">
                <a:tc>
                  <a:txBody>
                    <a:bodyPr/>
                    <a:lstStyle/>
                    <a:p>
                      <a:pPr algn="l"/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In orde</a:t>
                      </a:r>
                      <a:r>
                        <a:rPr lang="en-US" b="1" baseline="0" dirty="0" smtClean="0">
                          <a:solidFill>
                            <a:schemeClr val="tx1"/>
                          </a:solidFill>
                        </a:rPr>
                        <a:t>r to do so, choose between the two following options</a:t>
                      </a:r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en-CA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436731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CA" sz="1800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1" name="Oval 20">
            <a:extLst>
              <a:ext uri="{FF2B5EF4-FFF2-40B4-BE49-F238E27FC236}">
                <a16:creationId xmlns="" xmlns:a16="http://schemas.microsoft.com/office/drawing/2014/main" id="{18A60E22-0D53-403B-A33C-C0CB88E2C456}"/>
              </a:ext>
            </a:extLst>
          </p:cNvPr>
          <p:cNvSpPr/>
          <p:nvPr/>
        </p:nvSpPr>
        <p:spPr bwMode="auto">
          <a:xfrm>
            <a:off x="1482551" y="4047487"/>
            <a:ext cx="443642" cy="454025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4D6F4807-ABE0-476F-9938-8036BD5D14AC}"/>
              </a:ext>
            </a:extLst>
          </p:cNvPr>
          <p:cNvSpPr/>
          <p:nvPr/>
        </p:nvSpPr>
        <p:spPr bwMode="auto">
          <a:xfrm>
            <a:off x="1482551" y="4618265"/>
            <a:ext cx="443642" cy="454025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926193" y="4106122"/>
            <a:ext cx="441299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CA" sz="1600" dirty="0"/>
              <a:t>Openly </a:t>
            </a:r>
            <a:r>
              <a:rPr lang="en-CA" sz="1600" b="1" dirty="0"/>
              <a:t>supports </a:t>
            </a:r>
            <a:r>
              <a:rPr lang="en-CA" sz="1600" dirty="0"/>
              <a:t>the </a:t>
            </a:r>
            <a:r>
              <a:rPr lang="en-CA" sz="1600" dirty="0" smtClean="0"/>
              <a:t>change</a:t>
            </a:r>
          </a:p>
          <a:p>
            <a:pPr>
              <a:defRPr/>
            </a:pPr>
            <a:endParaRPr lang="en-US" sz="1200" dirty="0" smtClean="0"/>
          </a:p>
          <a:p>
            <a:pPr>
              <a:defRPr/>
            </a:pPr>
            <a:endParaRPr lang="en-US" sz="800" dirty="0" smtClean="0"/>
          </a:p>
          <a:p>
            <a:pPr>
              <a:defRPr/>
            </a:pPr>
            <a:r>
              <a:rPr lang="en-CA" sz="1600" dirty="0" smtClean="0"/>
              <a:t>Openly </a:t>
            </a:r>
            <a:r>
              <a:rPr lang="en-CA" sz="1600" b="1" dirty="0"/>
              <a:t>opposes </a:t>
            </a:r>
            <a:r>
              <a:rPr lang="en-CA" sz="1600" dirty="0"/>
              <a:t>the change or is </a:t>
            </a:r>
            <a:r>
              <a:rPr lang="en-CA" sz="1600" b="1" dirty="0" smtClean="0"/>
              <a:t>neutral</a:t>
            </a:r>
            <a:endParaRPr lang="en-CA" sz="1600" b="1" dirty="0"/>
          </a:p>
        </p:txBody>
      </p:sp>
      <p:sp>
        <p:nvSpPr>
          <p:cNvPr id="14" name="Freeform 13" descr="LightBulb Icon"/>
          <p:cNvSpPr>
            <a:spLocks noEditPoints="1"/>
          </p:cNvSpPr>
          <p:nvPr/>
        </p:nvSpPr>
        <p:spPr bwMode="auto">
          <a:xfrm rot="21258215">
            <a:off x="6913355" y="3707830"/>
            <a:ext cx="571500" cy="855341"/>
          </a:xfrm>
          <a:custGeom>
            <a:avLst/>
            <a:gdLst>
              <a:gd name="T0" fmla="*/ 377 w 448"/>
              <a:gd name="T1" fmla="*/ 53 h 671"/>
              <a:gd name="T2" fmla="*/ 224 w 448"/>
              <a:gd name="T3" fmla="*/ 0 h 671"/>
              <a:gd name="T4" fmla="*/ 71 w 448"/>
              <a:gd name="T5" fmla="*/ 53 h 671"/>
              <a:gd name="T6" fmla="*/ 0 w 448"/>
              <a:gd name="T7" fmla="*/ 196 h 671"/>
              <a:gd name="T8" fmla="*/ 78 w 448"/>
              <a:gd name="T9" fmla="*/ 351 h 671"/>
              <a:gd name="T10" fmla="*/ 119 w 448"/>
              <a:gd name="T11" fmla="*/ 440 h 671"/>
              <a:gd name="T12" fmla="*/ 109 w 448"/>
              <a:gd name="T13" fmla="*/ 503 h 671"/>
              <a:gd name="T14" fmla="*/ 118 w 448"/>
              <a:gd name="T15" fmla="*/ 567 h 671"/>
              <a:gd name="T16" fmla="*/ 126 w 448"/>
              <a:gd name="T17" fmla="*/ 618 h 671"/>
              <a:gd name="T18" fmla="*/ 186 w 448"/>
              <a:gd name="T19" fmla="*/ 660 h 671"/>
              <a:gd name="T20" fmla="*/ 262 w 448"/>
              <a:gd name="T21" fmla="*/ 660 h 671"/>
              <a:gd name="T22" fmla="*/ 322 w 448"/>
              <a:gd name="T23" fmla="*/ 618 h 671"/>
              <a:gd name="T24" fmla="*/ 330 w 448"/>
              <a:gd name="T25" fmla="*/ 567 h 671"/>
              <a:gd name="T26" fmla="*/ 339 w 448"/>
              <a:gd name="T27" fmla="*/ 503 h 671"/>
              <a:gd name="T28" fmla="*/ 329 w 448"/>
              <a:gd name="T29" fmla="*/ 440 h 671"/>
              <a:gd name="T30" fmla="*/ 370 w 448"/>
              <a:gd name="T31" fmla="*/ 351 h 671"/>
              <a:gd name="T32" fmla="*/ 448 w 448"/>
              <a:gd name="T33" fmla="*/ 196 h 671"/>
              <a:gd name="T34" fmla="*/ 362 w 448"/>
              <a:gd name="T35" fmla="*/ 274 h 671"/>
              <a:gd name="T36" fmla="*/ 336 w 448"/>
              <a:gd name="T37" fmla="*/ 303 h 671"/>
              <a:gd name="T38" fmla="*/ 174 w 448"/>
              <a:gd name="T39" fmla="*/ 433 h 671"/>
              <a:gd name="T40" fmla="*/ 99 w 448"/>
              <a:gd name="T41" fmla="*/ 289 h 671"/>
              <a:gd name="T42" fmla="*/ 56 w 448"/>
              <a:gd name="T43" fmla="*/ 196 h 671"/>
              <a:gd name="T44" fmla="*/ 111 w 448"/>
              <a:gd name="T45" fmla="*/ 93 h 671"/>
              <a:gd name="T46" fmla="*/ 224 w 448"/>
              <a:gd name="T47" fmla="*/ 56 h 671"/>
              <a:gd name="T48" fmla="*/ 338 w 448"/>
              <a:gd name="T49" fmla="*/ 93 h 671"/>
              <a:gd name="T50" fmla="*/ 392 w 448"/>
              <a:gd name="T51" fmla="*/ 196 h 671"/>
              <a:gd name="T52" fmla="*/ 306 w 448"/>
              <a:gd name="T53" fmla="*/ 156 h 671"/>
              <a:gd name="T54" fmla="*/ 224 w 448"/>
              <a:gd name="T55" fmla="*/ 126 h 671"/>
              <a:gd name="T56" fmla="*/ 210 w 448"/>
              <a:gd name="T57" fmla="*/ 139 h 671"/>
              <a:gd name="T58" fmla="*/ 224 w 448"/>
              <a:gd name="T59" fmla="*/ 154 h 671"/>
              <a:gd name="T60" fmla="*/ 294 w 448"/>
              <a:gd name="T61" fmla="*/ 196 h 671"/>
              <a:gd name="T62" fmla="*/ 308 w 448"/>
              <a:gd name="T63" fmla="*/ 210 h 671"/>
              <a:gd name="T64" fmla="*/ 322 w 448"/>
              <a:gd name="T65" fmla="*/ 196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48" h="671">
                <a:moveTo>
                  <a:pt x="429" y="115"/>
                </a:moveTo>
                <a:cubicBezTo>
                  <a:pt x="416" y="90"/>
                  <a:pt x="398" y="69"/>
                  <a:pt x="377" y="53"/>
                </a:cubicBezTo>
                <a:cubicBezTo>
                  <a:pt x="356" y="36"/>
                  <a:pt x="332" y="23"/>
                  <a:pt x="306" y="14"/>
                </a:cubicBezTo>
                <a:cubicBezTo>
                  <a:pt x="279" y="4"/>
                  <a:pt x="252" y="0"/>
                  <a:pt x="224" y="0"/>
                </a:cubicBezTo>
                <a:cubicBezTo>
                  <a:pt x="196" y="0"/>
                  <a:pt x="169" y="4"/>
                  <a:pt x="142" y="14"/>
                </a:cubicBezTo>
                <a:cubicBezTo>
                  <a:pt x="116" y="23"/>
                  <a:pt x="92" y="36"/>
                  <a:pt x="71" y="53"/>
                </a:cubicBezTo>
                <a:cubicBezTo>
                  <a:pt x="50" y="69"/>
                  <a:pt x="32" y="90"/>
                  <a:pt x="20" y="115"/>
                </a:cubicBezTo>
                <a:cubicBezTo>
                  <a:pt x="7" y="140"/>
                  <a:pt x="0" y="167"/>
                  <a:pt x="0" y="196"/>
                </a:cubicBezTo>
                <a:cubicBezTo>
                  <a:pt x="0" y="241"/>
                  <a:pt x="15" y="280"/>
                  <a:pt x="45" y="313"/>
                </a:cubicBezTo>
                <a:cubicBezTo>
                  <a:pt x="58" y="327"/>
                  <a:pt x="69" y="340"/>
                  <a:pt x="78" y="351"/>
                </a:cubicBezTo>
                <a:cubicBezTo>
                  <a:pt x="86" y="362"/>
                  <a:pt x="95" y="376"/>
                  <a:pt x="104" y="393"/>
                </a:cubicBezTo>
                <a:cubicBezTo>
                  <a:pt x="112" y="409"/>
                  <a:pt x="117" y="425"/>
                  <a:pt x="119" y="440"/>
                </a:cubicBezTo>
                <a:cubicBezTo>
                  <a:pt x="105" y="448"/>
                  <a:pt x="98" y="460"/>
                  <a:pt x="98" y="475"/>
                </a:cubicBezTo>
                <a:cubicBezTo>
                  <a:pt x="98" y="486"/>
                  <a:pt x="102" y="496"/>
                  <a:pt x="109" y="503"/>
                </a:cubicBezTo>
                <a:cubicBezTo>
                  <a:pt x="102" y="511"/>
                  <a:pt x="98" y="521"/>
                  <a:pt x="98" y="531"/>
                </a:cubicBezTo>
                <a:cubicBezTo>
                  <a:pt x="98" y="547"/>
                  <a:pt x="105" y="558"/>
                  <a:pt x="118" y="567"/>
                </a:cubicBezTo>
                <a:cubicBezTo>
                  <a:pt x="114" y="574"/>
                  <a:pt x="112" y="580"/>
                  <a:pt x="112" y="587"/>
                </a:cubicBezTo>
                <a:cubicBezTo>
                  <a:pt x="112" y="601"/>
                  <a:pt x="117" y="611"/>
                  <a:pt x="126" y="618"/>
                </a:cubicBezTo>
                <a:cubicBezTo>
                  <a:pt x="135" y="626"/>
                  <a:pt x="146" y="629"/>
                  <a:pt x="160" y="629"/>
                </a:cubicBezTo>
                <a:cubicBezTo>
                  <a:pt x="166" y="642"/>
                  <a:pt x="174" y="652"/>
                  <a:pt x="186" y="660"/>
                </a:cubicBezTo>
                <a:cubicBezTo>
                  <a:pt x="198" y="668"/>
                  <a:pt x="210" y="671"/>
                  <a:pt x="224" y="671"/>
                </a:cubicBezTo>
                <a:cubicBezTo>
                  <a:pt x="238" y="671"/>
                  <a:pt x="250" y="668"/>
                  <a:pt x="262" y="660"/>
                </a:cubicBezTo>
                <a:cubicBezTo>
                  <a:pt x="274" y="652"/>
                  <a:pt x="283" y="642"/>
                  <a:pt x="288" y="629"/>
                </a:cubicBezTo>
                <a:cubicBezTo>
                  <a:pt x="302" y="629"/>
                  <a:pt x="313" y="626"/>
                  <a:pt x="322" y="618"/>
                </a:cubicBezTo>
                <a:cubicBezTo>
                  <a:pt x="331" y="611"/>
                  <a:pt x="336" y="601"/>
                  <a:pt x="336" y="587"/>
                </a:cubicBezTo>
                <a:cubicBezTo>
                  <a:pt x="336" y="580"/>
                  <a:pt x="334" y="574"/>
                  <a:pt x="330" y="567"/>
                </a:cubicBezTo>
                <a:cubicBezTo>
                  <a:pt x="343" y="558"/>
                  <a:pt x="350" y="547"/>
                  <a:pt x="350" y="531"/>
                </a:cubicBezTo>
                <a:cubicBezTo>
                  <a:pt x="350" y="521"/>
                  <a:pt x="346" y="511"/>
                  <a:pt x="339" y="503"/>
                </a:cubicBezTo>
                <a:cubicBezTo>
                  <a:pt x="346" y="496"/>
                  <a:pt x="350" y="486"/>
                  <a:pt x="350" y="475"/>
                </a:cubicBezTo>
                <a:cubicBezTo>
                  <a:pt x="350" y="460"/>
                  <a:pt x="343" y="448"/>
                  <a:pt x="329" y="440"/>
                </a:cubicBezTo>
                <a:cubicBezTo>
                  <a:pt x="331" y="425"/>
                  <a:pt x="336" y="409"/>
                  <a:pt x="344" y="393"/>
                </a:cubicBezTo>
                <a:cubicBezTo>
                  <a:pt x="353" y="376"/>
                  <a:pt x="362" y="362"/>
                  <a:pt x="370" y="351"/>
                </a:cubicBezTo>
                <a:cubicBezTo>
                  <a:pt x="379" y="340"/>
                  <a:pt x="390" y="327"/>
                  <a:pt x="403" y="313"/>
                </a:cubicBezTo>
                <a:cubicBezTo>
                  <a:pt x="433" y="280"/>
                  <a:pt x="448" y="241"/>
                  <a:pt x="448" y="196"/>
                </a:cubicBezTo>
                <a:cubicBezTo>
                  <a:pt x="448" y="167"/>
                  <a:pt x="442" y="140"/>
                  <a:pt x="429" y="115"/>
                </a:cubicBezTo>
                <a:close/>
                <a:moveTo>
                  <a:pt x="362" y="274"/>
                </a:moveTo>
                <a:cubicBezTo>
                  <a:pt x="359" y="278"/>
                  <a:pt x="355" y="282"/>
                  <a:pt x="349" y="289"/>
                </a:cubicBezTo>
                <a:cubicBezTo>
                  <a:pt x="343" y="295"/>
                  <a:pt x="338" y="300"/>
                  <a:pt x="336" y="303"/>
                </a:cubicBezTo>
                <a:cubicBezTo>
                  <a:pt x="298" y="348"/>
                  <a:pt x="278" y="391"/>
                  <a:pt x="274" y="433"/>
                </a:cubicBezTo>
                <a:cubicBezTo>
                  <a:pt x="174" y="433"/>
                  <a:pt x="174" y="433"/>
                  <a:pt x="174" y="433"/>
                </a:cubicBezTo>
                <a:cubicBezTo>
                  <a:pt x="170" y="391"/>
                  <a:pt x="150" y="348"/>
                  <a:pt x="112" y="303"/>
                </a:cubicBezTo>
                <a:cubicBezTo>
                  <a:pt x="110" y="300"/>
                  <a:pt x="105" y="295"/>
                  <a:pt x="99" y="289"/>
                </a:cubicBezTo>
                <a:cubicBezTo>
                  <a:pt x="93" y="282"/>
                  <a:pt x="89" y="278"/>
                  <a:pt x="86" y="274"/>
                </a:cubicBezTo>
                <a:cubicBezTo>
                  <a:pt x="66" y="251"/>
                  <a:pt x="56" y="225"/>
                  <a:pt x="56" y="196"/>
                </a:cubicBezTo>
                <a:cubicBezTo>
                  <a:pt x="56" y="175"/>
                  <a:pt x="61" y="155"/>
                  <a:pt x="71" y="137"/>
                </a:cubicBezTo>
                <a:cubicBezTo>
                  <a:pt x="81" y="119"/>
                  <a:pt x="94" y="104"/>
                  <a:pt x="111" y="93"/>
                </a:cubicBezTo>
                <a:cubicBezTo>
                  <a:pt x="127" y="81"/>
                  <a:pt x="145" y="72"/>
                  <a:pt x="164" y="65"/>
                </a:cubicBezTo>
                <a:cubicBezTo>
                  <a:pt x="184" y="59"/>
                  <a:pt x="204" y="56"/>
                  <a:pt x="224" y="56"/>
                </a:cubicBezTo>
                <a:cubicBezTo>
                  <a:pt x="244" y="56"/>
                  <a:pt x="264" y="59"/>
                  <a:pt x="284" y="65"/>
                </a:cubicBezTo>
                <a:cubicBezTo>
                  <a:pt x="303" y="72"/>
                  <a:pt x="321" y="81"/>
                  <a:pt x="338" y="93"/>
                </a:cubicBezTo>
                <a:cubicBezTo>
                  <a:pt x="354" y="104"/>
                  <a:pt x="367" y="119"/>
                  <a:pt x="377" y="137"/>
                </a:cubicBezTo>
                <a:cubicBezTo>
                  <a:pt x="387" y="155"/>
                  <a:pt x="392" y="175"/>
                  <a:pt x="392" y="196"/>
                </a:cubicBezTo>
                <a:cubicBezTo>
                  <a:pt x="392" y="225"/>
                  <a:pt x="382" y="251"/>
                  <a:pt x="362" y="274"/>
                </a:cubicBezTo>
                <a:close/>
                <a:moveTo>
                  <a:pt x="306" y="156"/>
                </a:moveTo>
                <a:cubicBezTo>
                  <a:pt x="295" y="145"/>
                  <a:pt x="282" y="137"/>
                  <a:pt x="268" y="133"/>
                </a:cubicBezTo>
                <a:cubicBezTo>
                  <a:pt x="253" y="128"/>
                  <a:pt x="239" y="126"/>
                  <a:pt x="224" y="126"/>
                </a:cubicBezTo>
                <a:cubicBezTo>
                  <a:pt x="214" y="130"/>
                  <a:pt x="214" y="130"/>
                  <a:pt x="214" y="130"/>
                </a:cubicBezTo>
                <a:cubicBezTo>
                  <a:pt x="210" y="139"/>
                  <a:pt x="210" y="139"/>
                  <a:pt x="210" y="139"/>
                </a:cubicBezTo>
                <a:cubicBezTo>
                  <a:pt x="214" y="149"/>
                  <a:pt x="214" y="149"/>
                  <a:pt x="214" y="149"/>
                </a:cubicBezTo>
                <a:cubicBezTo>
                  <a:pt x="224" y="154"/>
                  <a:pt x="224" y="154"/>
                  <a:pt x="224" y="154"/>
                </a:cubicBezTo>
                <a:cubicBezTo>
                  <a:pt x="239" y="154"/>
                  <a:pt x="255" y="157"/>
                  <a:pt x="270" y="164"/>
                </a:cubicBezTo>
                <a:cubicBezTo>
                  <a:pt x="286" y="172"/>
                  <a:pt x="294" y="182"/>
                  <a:pt x="294" y="196"/>
                </a:cubicBezTo>
                <a:cubicBezTo>
                  <a:pt x="298" y="205"/>
                  <a:pt x="298" y="205"/>
                  <a:pt x="298" y="205"/>
                </a:cubicBezTo>
                <a:cubicBezTo>
                  <a:pt x="308" y="210"/>
                  <a:pt x="308" y="210"/>
                  <a:pt x="308" y="210"/>
                </a:cubicBezTo>
                <a:cubicBezTo>
                  <a:pt x="318" y="205"/>
                  <a:pt x="318" y="205"/>
                  <a:pt x="318" y="205"/>
                </a:cubicBezTo>
                <a:cubicBezTo>
                  <a:pt x="322" y="196"/>
                  <a:pt x="322" y="196"/>
                  <a:pt x="322" y="196"/>
                </a:cubicBezTo>
                <a:cubicBezTo>
                  <a:pt x="322" y="180"/>
                  <a:pt x="317" y="167"/>
                  <a:pt x="306" y="156"/>
                </a:cubicBez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5" name="Rectangle 14"/>
          <p:cNvSpPr/>
          <p:nvPr/>
        </p:nvSpPr>
        <p:spPr>
          <a:xfrm>
            <a:off x="7415871" y="3799700"/>
            <a:ext cx="3746334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  <a:tabLst>
                <a:tab pos="457200" algn="l"/>
                <a:tab pos="589280" algn="l"/>
              </a:tabLst>
            </a:pP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If unsure about a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hampion’s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osition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owards the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hange, check with your sponsor or someone close to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he champion (or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sk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he champion directly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27434048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>
                <a:solidFill>
                  <a:schemeClr val="accent3"/>
                </a:solidFill>
              </a:rPr>
              <a:t>Assess the CM competencies of… </a:t>
            </a:r>
            <a:r>
              <a:rPr lang="en-CA" dirty="0"/>
              <a:t>the champions</a:t>
            </a:r>
            <a:endParaRPr lang="en-CA" dirty="0">
              <a:solidFill>
                <a:schemeClr val="accent1"/>
              </a:solidFill>
            </a:endParaRPr>
          </a:p>
        </p:txBody>
      </p:sp>
      <p:sp>
        <p:nvSpPr>
          <p:cNvPr id="43" name="Freeform 42" descr="AngleDoubleRight Icon"/>
          <p:cNvSpPr>
            <a:spLocks noEditPoints="1"/>
          </p:cNvSpPr>
          <p:nvPr/>
        </p:nvSpPr>
        <p:spPr bwMode="auto">
          <a:xfrm>
            <a:off x="613485" y="1553609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graphicFrame>
        <p:nvGraphicFramePr>
          <p:cNvPr id="47" name="Table 46" title="green squar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8024351"/>
              </p:ext>
            </p:extLst>
          </p:nvPr>
        </p:nvGraphicFramePr>
        <p:xfrm>
          <a:off x="1260839" y="1529813"/>
          <a:ext cx="4414685" cy="315298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14685"/>
              </a:tblGrid>
              <a:tr h="3152987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8"/>
                        <a:tabLst/>
                        <a:defRPr/>
                      </a:pPr>
                      <a:r>
                        <a:rPr lang="en-US" dirty="0" smtClean="0"/>
                        <a:t>On the “</a:t>
                      </a:r>
                      <a:r>
                        <a:rPr lang="en-US" b="1" dirty="0" smtClean="0"/>
                        <a:t>Assess</a:t>
                      </a:r>
                      <a:r>
                        <a:rPr lang="en-US" b="1" baseline="0" dirty="0" smtClean="0"/>
                        <a:t> the champions</a:t>
                      </a:r>
                      <a:r>
                        <a:rPr lang="en-US" baseline="0" dirty="0" smtClean="0"/>
                        <a:t>”</a:t>
                      </a:r>
                      <a:r>
                        <a:rPr lang="en-US" dirty="0" smtClean="0"/>
                        <a:t> tab, for each champion, fill out the 20 blue cells from columns “D” to “W”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by ranking each factor on a scale of 1 to 5 (1</a:t>
                      </a:r>
                      <a:r>
                        <a:rPr lang="en-US" baseline="0" dirty="0" smtClean="0"/>
                        <a:t> being the least and 5 being the most)</a:t>
                      </a:r>
                      <a:r>
                        <a:rPr lang="en-US" dirty="0" smtClean="0"/>
                        <a:t>.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8"/>
                        <a:tabLst/>
                        <a:defRPr/>
                      </a:pPr>
                      <a:r>
                        <a:rPr lang="en-US" dirty="0" smtClean="0"/>
                        <a:t>This</a:t>
                      </a:r>
                      <a:r>
                        <a:rPr lang="en-US" baseline="0" dirty="0" smtClean="0"/>
                        <a:t> will generate:</a:t>
                      </a:r>
                    </a:p>
                    <a:p>
                      <a:pPr marL="800100" marR="0" lvl="1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b="1" baseline="0" dirty="0" smtClean="0"/>
                        <a:t>Assessment score</a:t>
                      </a:r>
                      <a:endParaRPr lang="en-US" b="0" baseline="0" dirty="0" smtClean="0"/>
                    </a:p>
                    <a:p>
                      <a:pPr marL="800100" marR="0" lvl="1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b="1" dirty="0" smtClean="0"/>
                        <a:t>C</a:t>
                      </a:r>
                      <a:r>
                        <a:rPr lang="en-US" b="1" baseline="0" dirty="0" smtClean="0"/>
                        <a:t>ompetency level</a:t>
                      </a:r>
                    </a:p>
                    <a:p>
                      <a:pPr marL="800100" marR="0" lvl="1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b="1" dirty="0" smtClean="0"/>
                        <a:t>Letter/number designation</a:t>
                      </a:r>
                      <a:endParaRPr lang="en-US" b="0" baseline="0" dirty="0" smtClean="0"/>
                    </a:p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400" i="1" u="sng" dirty="0" smtClean="0"/>
                        <a:t>Note</a:t>
                      </a:r>
                      <a:r>
                        <a:rPr lang="en-US" sz="1400" i="1" u="none" dirty="0" smtClean="0"/>
                        <a:t>:</a:t>
                      </a:r>
                      <a:r>
                        <a:rPr lang="en-US" sz="1400" i="1" dirty="0" smtClean="0"/>
                        <a:t> these questions are abridged versions of the sponsor questions.</a:t>
                      </a:r>
                      <a:endParaRPr lang="en-US" sz="1400" i="1" baseline="0" dirty="0" smtClean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Table 9" title="white box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21681728"/>
              </p:ext>
            </p:extLst>
          </p:nvPr>
        </p:nvGraphicFramePr>
        <p:xfrm>
          <a:off x="6445755" y="1500578"/>
          <a:ext cx="5069349" cy="2153469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69349"/>
              </a:tblGrid>
              <a:tr h="538029">
                <a:tc>
                  <a:txBody>
                    <a:bodyPr/>
                    <a:lstStyle/>
                    <a:p>
                      <a:pPr algn="l"/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Competency level of the champions: </a:t>
                      </a:r>
                      <a:endParaRPr lang="en-CA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436731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en-US" sz="1800" b="1" dirty="0" smtClean="0"/>
                        <a:t>              </a:t>
                      </a:r>
                      <a:r>
                        <a:rPr lang="en-US" sz="1600" b="1" dirty="0" smtClean="0"/>
                        <a:t>High </a:t>
                      </a:r>
                      <a:r>
                        <a:rPr lang="en-US" sz="1600" b="0" dirty="0" smtClean="0"/>
                        <a:t>level</a:t>
                      </a:r>
                      <a:r>
                        <a:rPr lang="en-US" sz="1600" b="1" dirty="0" smtClean="0"/>
                        <a:t> </a:t>
                      </a:r>
                      <a:r>
                        <a:rPr lang="en-US" sz="1600" dirty="0" smtClean="0"/>
                        <a:t>of competency (score of 80-100)</a:t>
                      </a:r>
                    </a:p>
                    <a:p>
                      <a:pPr>
                        <a:defRPr/>
                      </a:pPr>
                      <a:endParaRPr lang="en-US" sz="1600" dirty="0" smtClean="0"/>
                    </a:p>
                    <a:p>
                      <a:pPr>
                        <a:defRPr/>
                      </a:pPr>
                      <a:r>
                        <a:rPr lang="en-US" sz="1600" b="1" dirty="0" smtClean="0"/>
                        <a:t>                Moderate </a:t>
                      </a:r>
                      <a:r>
                        <a:rPr lang="en-US" sz="1600" b="0" dirty="0" smtClean="0"/>
                        <a:t>level</a:t>
                      </a:r>
                      <a:r>
                        <a:rPr lang="en-US" sz="1600" b="1" dirty="0" smtClean="0"/>
                        <a:t> </a:t>
                      </a:r>
                      <a:r>
                        <a:rPr lang="en-US" sz="1600" dirty="0" smtClean="0"/>
                        <a:t>of competency (score of 70-79)</a:t>
                      </a:r>
                    </a:p>
                    <a:p>
                      <a:pPr>
                        <a:defRPr/>
                      </a:pPr>
                      <a:endParaRPr lang="en-US" sz="1600" dirty="0" smtClean="0"/>
                    </a:p>
                    <a:p>
                      <a:pPr>
                        <a:defRPr/>
                      </a:pPr>
                      <a:r>
                        <a:rPr lang="en-US" sz="1600" b="1" dirty="0" smtClean="0"/>
                        <a:t>                Low </a:t>
                      </a:r>
                      <a:r>
                        <a:rPr lang="en-US" sz="1600" b="0" dirty="0" smtClean="0"/>
                        <a:t>level</a:t>
                      </a:r>
                      <a:r>
                        <a:rPr lang="en-US" sz="1600" b="1" dirty="0" smtClean="0"/>
                        <a:t> </a:t>
                      </a:r>
                      <a:r>
                        <a:rPr lang="en-US" sz="1600" dirty="0" smtClean="0"/>
                        <a:t>of competency (score &lt; 70)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CA" sz="1800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4" name="Oval 13">
            <a:extLst>
              <a:ext uri="{FF2B5EF4-FFF2-40B4-BE49-F238E27FC236}">
                <a16:creationId xmlns="" xmlns:a16="http://schemas.microsoft.com/office/drawing/2014/main" id="{18A60E22-0D53-403B-A33C-C0CB88E2C456}"/>
              </a:ext>
            </a:extLst>
          </p:cNvPr>
          <p:cNvSpPr/>
          <p:nvPr/>
        </p:nvSpPr>
        <p:spPr bwMode="auto">
          <a:xfrm>
            <a:off x="6616680" y="1997789"/>
            <a:ext cx="443642" cy="454025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5" name="Oval 14">
            <a:extLst>
              <a:ext uri="{FF2B5EF4-FFF2-40B4-BE49-F238E27FC236}">
                <a16:creationId xmlns="" xmlns:a16="http://schemas.microsoft.com/office/drawing/2014/main" id="{18A60E22-0D53-403B-A33C-C0CB88E2C456}"/>
              </a:ext>
            </a:extLst>
          </p:cNvPr>
          <p:cNvSpPr/>
          <p:nvPr/>
        </p:nvSpPr>
        <p:spPr bwMode="auto">
          <a:xfrm>
            <a:off x="6616680" y="2497042"/>
            <a:ext cx="443642" cy="454025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 smtClean="0">
                <a:solidFill>
                  <a:schemeClr val="tx1"/>
                </a:solidFill>
              </a:rPr>
              <a:t>2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18A60E22-0D53-403B-A33C-C0CB88E2C456}"/>
              </a:ext>
            </a:extLst>
          </p:cNvPr>
          <p:cNvSpPr/>
          <p:nvPr/>
        </p:nvSpPr>
        <p:spPr bwMode="auto">
          <a:xfrm>
            <a:off x="6616680" y="3002024"/>
            <a:ext cx="443642" cy="454025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 smtClean="0">
                <a:solidFill>
                  <a:schemeClr val="tx1"/>
                </a:solidFill>
              </a:rPr>
              <a:t>3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7" name="Freeform 6" descr="LightBulb Icon"/>
          <p:cNvSpPr>
            <a:spLocks noEditPoints="1"/>
          </p:cNvSpPr>
          <p:nvPr/>
        </p:nvSpPr>
        <p:spPr bwMode="auto">
          <a:xfrm rot="21258215">
            <a:off x="6624399" y="3908030"/>
            <a:ext cx="571500" cy="855341"/>
          </a:xfrm>
          <a:custGeom>
            <a:avLst/>
            <a:gdLst>
              <a:gd name="T0" fmla="*/ 377 w 448"/>
              <a:gd name="T1" fmla="*/ 53 h 671"/>
              <a:gd name="T2" fmla="*/ 224 w 448"/>
              <a:gd name="T3" fmla="*/ 0 h 671"/>
              <a:gd name="T4" fmla="*/ 71 w 448"/>
              <a:gd name="T5" fmla="*/ 53 h 671"/>
              <a:gd name="T6" fmla="*/ 0 w 448"/>
              <a:gd name="T7" fmla="*/ 196 h 671"/>
              <a:gd name="T8" fmla="*/ 78 w 448"/>
              <a:gd name="T9" fmla="*/ 351 h 671"/>
              <a:gd name="T10" fmla="*/ 119 w 448"/>
              <a:gd name="T11" fmla="*/ 440 h 671"/>
              <a:gd name="T12" fmla="*/ 109 w 448"/>
              <a:gd name="T13" fmla="*/ 503 h 671"/>
              <a:gd name="T14" fmla="*/ 118 w 448"/>
              <a:gd name="T15" fmla="*/ 567 h 671"/>
              <a:gd name="T16" fmla="*/ 126 w 448"/>
              <a:gd name="T17" fmla="*/ 618 h 671"/>
              <a:gd name="T18" fmla="*/ 186 w 448"/>
              <a:gd name="T19" fmla="*/ 660 h 671"/>
              <a:gd name="T20" fmla="*/ 262 w 448"/>
              <a:gd name="T21" fmla="*/ 660 h 671"/>
              <a:gd name="T22" fmla="*/ 322 w 448"/>
              <a:gd name="T23" fmla="*/ 618 h 671"/>
              <a:gd name="T24" fmla="*/ 330 w 448"/>
              <a:gd name="T25" fmla="*/ 567 h 671"/>
              <a:gd name="T26" fmla="*/ 339 w 448"/>
              <a:gd name="T27" fmla="*/ 503 h 671"/>
              <a:gd name="T28" fmla="*/ 329 w 448"/>
              <a:gd name="T29" fmla="*/ 440 h 671"/>
              <a:gd name="T30" fmla="*/ 370 w 448"/>
              <a:gd name="T31" fmla="*/ 351 h 671"/>
              <a:gd name="T32" fmla="*/ 448 w 448"/>
              <a:gd name="T33" fmla="*/ 196 h 671"/>
              <a:gd name="T34" fmla="*/ 362 w 448"/>
              <a:gd name="T35" fmla="*/ 274 h 671"/>
              <a:gd name="T36" fmla="*/ 336 w 448"/>
              <a:gd name="T37" fmla="*/ 303 h 671"/>
              <a:gd name="T38" fmla="*/ 174 w 448"/>
              <a:gd name="T39" fmla="*/ 433 h 671"/>
              <a:gd name="T40" fmla="*/ 99 w 448"/>
              <a:gd name="T41" fmla="*/ 289 h 671"/>
              <a:gd name="T42" fmla="*/ 56 w 448"/>
              <a:gd name="T43" fmla="*/ 196 h 671"/>
              <a:gd name="T44" fmla="*/ 111 w 448"/>
              <a:gd name="T45" fmla="*/ 93 h 671"/>
              <a:gd name="T46" fmla="*/ 224 w 448"/>
              <a:gd name="T47" fmla="*/ 56 h 671"/>
              <a:gd name="T48" fmla="*/ 338 w 448"/>
              <a:gd name="T49" fmla="*/ 93 h 671"/>
              <a:gd name="T50" fmla="*/ 392 w 448"/>
              <a:gd name="T51" fmla="*/ 196 h 671"/>
              <a:gd name="T52" fmla="*/ 306 w 448"/>
              <a:gd name="T53" fmla="*/ 156 h 671"/>
              <a:gd name="T54" fmla="*/ 224 w 448"/>
              <a:gd name="T55" fmla="*/ 126 h 671"/>
              <a:gd name="T56" fmla="*/ 210 w 448"/>
              <a:gd name="T57" fmla="*/ 139 h 671"/>
              <a:gd name="T58" fmla="*/ 224 w 448"/>
              <a:gd name="T59" fmla="*/ 154 h 671"/>
              <a:gd name="T60" fmla="*/ 294 w 448"/>
              <a:gd name="T61" fmla="*/ 196 h 671"/>
              <a:gd name="T62" fmla="*/ 308 w 448"/>
              <a:gd name="T63" fmla="*/ 210 h 671"/>
              <a:gd name="T64" fmla="*/ 322 w 448"/>
              <a:gd name="T65" fmla="*/ 196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48" h="671">
                <a:moveTo>
                  <a:pt x="429" y="115"/>
                </a:moveTo>
                <a:cubicBezTo>
                  <a:pt x="416" y="90"/>
                  <a:pt x="398" y="69"/>
                  <a:pt x="377" y="53"/>
                </a:cubicBezTo>
                <a:cubicBezTo>
                  <a:pt x="356" y="36"/>
                  <a:pt x="332" y="23"/>
                  <a:pt x="306" y="14"/>
                </a:cubicBezTo>
                <a:cubicBezTo>
                  <a:pt x="279" y="4"/>
                  <a:pt x="252" y="0"/>
                  <a:pt x="224" y="0"/>
                </a:cubicBezTo>
                <a:cubicBezTo>
                  <a:pt x="196" y="0"/>
                  <a:pt x="169" y="4"/>
                  <a:pt x="142" y="14"/>
                </a:cubicBezTo>
                <a:cubicBezTo>
                  <a:pt x="116" y="23"/>
                  <a:pt x="92" y="36"/>
                  <a:pt x="71" y="53"/>
                </a:cubicBezTo>
                <a:cubicBezTo>
                  <a:pt x="50" y="69"/>
                  <a:pt x="32" y="90"/>
                  <a:pt x="20" y="115"/>
                </a:cubicBezTo>
                <a:cubicBezTo>
                  <a:pt x="7" y="140"/>
                  <a:pt x="0" y="167"/>
                  <a:pt x="0" y="196"/>
                </a:cubicBezTo>
                <a:cubicBezTo>
                  <a:pt x="0" y="241"/>
                  <a:pt x="15" y="280"/>
                  <a:pt x="45" y="313"/>
                </a:cubicBezTo>
                <a:cubicBezTo>
                  <a:pt x="58" y="327"/>
                  <a:pt x="69" y="340"/>
                  <a:pt x="78" y="351"/>
                </a:cubicBezTo>
                <a:cubicBezTo>
                  <a:pt x="86" y="362"/>
                  <a:pt x="95" y="376"/>
                  <a:pt x="104" y="393"/>
                </a:cubicBezTo>
                <a:cubicBezTo>
                  <a:pt x="112" y="409"/>
                  <a:pt x="117" y="425"/>
                  <a:pt x="119" y="440"/>
                </a:cubicBezTo>
                <a:cubicBezTo>
                  <a:pt x="105" y="448"/>
                  <a:pt x="98" y="460"/>
                  <a:pt x="98" y="475"/>
                </a:cubicBezTo>
                <a:cubicBezTo>
                  <a:pt x="98" y="486"/>
                  <a:pt x="102" y="496"/>
                  <a:pt x="109" y="503"/>
                </a:cubicBezTo>
                <a:cubicBezTo>
                  <a:pt x="102" y="511"/>
                  <a:pt x="98" y="521"/>
                  <a:pt x="98" y="531"/>
                </a:cubicBezTo>
                <a:cubicBezTo>
                  <a:pt x="98" y="547"/>
                  <a:pt x="105" y="558"/>
                  <a:pt x="118" y="567"/>
                </a:cubicBezTo>
                <a:cubicBezTo>
                  <a:pt x="114" y="574"/>
                  <a:pt x="112" y="580"/>
                  <a:pt x="112" y="587"/>
                </a:cubicBezTo>
                <a:cubicBezTo>
                  <a:pt x="112" y="601"/>
                  <a:pt x="117" y="611"/>
                  <a:pt x="126" y="618"/>
                </a:cubicBezTo>
                <a:cubicBezTo>
                  <a:pt x="135" y="626"/>
                  <a:pt x="146" y="629"/>
                  <a:pt x="160" y="629"/>
                </a:cubicBezTo>
                <a:cubicBezTo>
                  <a:pt x="166" y="642"/>
                  <a:pt x="174" y="652"/>
                  <a:pt x="186" y="660"/>
                </a:cubicBezTo>
                <a:cubicBezTo>
                  <a:pt x="198" y="668"/>
                  <a:pt x="210" y="671"/>
                  <a:pt x="224" y="671"/>
                </a:cubicBezTo>
                <a:cubicBezTo>
                  <a:pt x="238" y="671"/>
                  <a:pt x="250" y="668"/>
                  <a:pt x="262" y="660"/>
                </a:cubicBezTo>
                <a:cubicBezTo>
                  <a:pt x="274" y="652"/>
                  <a:pt x="283" y="642"/>
                  <a:pt x="288" y="629"/>
                </a:cubicBezTo>
                <a:cubicBezTo>
                  <a:pt x="302" y="629"/>
                  <a:pt x="313" y="626"/>
                  <a:pt x="322" y="618"/>
                </a:cubicBezTo>
                <a:cubicBezTo>
                  <a:pt x="331" y="611"/>
                  <a:pt x="336" y="601"/>
                  <a:pt x="336" y="587"/>
                </a:cubicBezTo>
                <a:cubicBezTo>
                  <a:pt x="336" y="580"/>
                  <a:pt x="334" y="574"/>
                  <a:pt x="330" y="567"/>
                </a:cubicBezTo>
                <a:cubicBezTo>
                  <a:pt x="343" y="558"/>
                  <a:pt x="350" y="547"/>
                  <a:pt x="350" y="531"/>
                </a:cubicBezTo>
                <a:cubicBezTo>
                  <a:pt x="350" y="521"/>
                  <a:pt x="346" y="511"/>
                  <a:pt x="339" y="503"/>
                </a:cubicBezTo>
                <a:cubicBezTo>
                  <a:pt x="346" y="496"/>
                  <a:pt x="350" y="486"/>
                  <a:pt x="350" y="475"/>
                </a:cubicBezTo>
                <a:cubicBezTo>
                  <a:pt x="350" y="460"/>
                  <a:pt x="343" y="448"/>
                  <a:pt x="329" y="440"/>
                </a:cubicBezTo>
                <a:cubicBezTo>
                  <a:pt x="331" y="425"/>
                  <a:pt x="336" y="409"/>
                  <a:pt x="344" y="393"/>
                </a:cubicBezTo>
                <a:cubicBezTo>
                  <a:pt x="353" y="376"/>
                  <a:pt x="362" y="362"/>
                  <a:pt x="370" y="351"/>
                </a:cubicBezTo>
                <a:cubicBezTo>
                  <a:pt x="379" y="340"/>
                  <a:pt x="390" y="327"/>
                  <a:pt x="403" y="313"/>
                </a:cubicBezTo>
                <a:cubicBezTo>
                  <a:pt x="433" y="280"/>
                  <a:pt x="448" y="241"/>
                  <a:pt x="448" y="196"/>
                </a:cubicBezTo>
                <a:cubicBezTo>
                  <a:pt x="448" y="167"/>
                  <a:pt x="442" y="140"/>
                  <a:pt x="429" y="115"/>
                </a:cubicBezTo>
                <a:close/>
                <a:moveTo>
                  <a:pt x="362" y="274"/>
                </a:moveTo>
                <a:cubicBezTo>
                  <a:pt x="359" y="278"/>
                  <a:pt x="355" y="282"/>
                  <a:pt x="349" y="289"/>
                </a:cubicBezTo>
                <a:cubicBezTo>
                  <a:pt x="343" y="295"/>
                  <a:pt x="338" y="300"/>
                  <a:pt x="336" y="303"/>
                </a:cubicBezTo>
                <a:cubicBezTo>
                  <a:pt x="298" y="348"/>
                  <a:pt x="278" y="391"/>
                  <a:pt x="274" y="433"/>
                </a:cubicBezTo>
                <a:cubicBezTo>
                  <a:pt x="174" y="433"/>
                  <a:pt x="174" y="433"/>
                  <a:pt x="174" y="433"/>
                </a:cubicBezTo>
                <a:cubicBezTo>
                  <a:pt x="170" y="391"/>
                  <a:pt x="150" y="348"/>
                  <a:pt x="112" y="303"/>
                </a:cubicBezTo>
                <a:cubicBezTo>
                  <a:pt x="110" y="300"/>
                  <a:pt x="105" y="295"/>
                  <a:pt x="99" y="289"/>
                </a:cubicBezTo>
                <a:cubicBezTo>
                  <a:pt x="93" y="282"/>
                  <a:pt x="89" y="278"/>
                  <a:pt x="86" y="274"/>
                </a:cubicBezTo>
                <a:cubicBezTo>
                  <a:pt x="66" y="251"/>
                  <a:pt x="56" y="225"/>
                  <a:pt x="56" y="196"/>
                </a:cubicBezTo>
                <a:cubicBezTo>
                  <a:pt x="56" y="175"/>
                  <a:pt x="61" y="155"/>
                  <a:pt x="71" y="137"/>
                </a:cubicBezTo>
                <a:cubicBezTo>
                  <a:pt x="81" y="119"/>
                  <a:pt x="94" y="104"/>
                  <a:pt x="111" y="93"/>
                </a:cubicBezTo>
                <a:cubicBezTo>
                  <a:pt x="127" y="81"/>
                  <a:pt x="145" y="72"/>
                  <a:pt x="164" y="65"/>
                </a:cubicBezTo>
                <a:cubicBezTo>
                  <a:pt x="184" y="59"/>
                  <a:pt x="204" y="56"/>
                  <a:pt x="224" y="56"/>
                </a:cubicBezTo>
                <a:cubicBezTo>
                  <a:pt x="244" y="56"/>
                  <a:pt x="264" y="59"/>
                  <a:pt x="284" y="65"/>
                </a:cubicBezTo>
                <a:cubicBezTo>
                  <a:pt x="303" y="72"/>
                  <a:pt x="321" y="81"/>
                  <a:pt x="338" y="93"/>
                </a:cubicBezTo>
                <a:cubicBezTo>
                  <a:pt x="354" y="104"/>
                  <a:pt x="367" y="119"/>
                  <a:pt x="377" y="137"/>
                </a:cubicBezTo>
                <a:cubicBezTo>
                  <a:pt x="387" y="155"/>
                  <a:pt x="392" y="175"/>
                  <a:pt x="392" y="196"/>
                </a:cubicBezTo>
                <a:cubicBezTo>
                  <a:pt x="392" y="225"/>
                  <a:pt x="382" y="251"/>
                  <a:pt x="362" y="274"/>
                </a:cubicBezTo>
                <a:close/>
                <a:moveTo>
                  <a:pt x="306" y="156"/>
                </a:moveTo>
                <a:cubicBezTo>
                  <a:pt x="295" y="145"/>
                  <a:pt x="282" y="137"/>
                  <a:pt x="268" y="133"/>
                </a:cubicBezTo>
                <a:cubicBezTo>
                  <a:pt x="253" y="128"/>
                  <a:pt x="239" y="126"/>
                  <a:pt x="224" y="126"/>
                </a:cubicBezTo>
                <a:cubicBezTo>
                  <a:pt x="214" y="130"/>
                  <a:pt x="214" y="130"/>
                  <a:pt x="214" y="130"/>
                </a:cubicBezTo>
                <a:cubicBezTo>
                  <a:pt x="210" y="139"/>
                  <a:pt x="210" y="139"/>
                  <a:pt x="210" y="139"/>
                </a:cubicBezTo>
                <a:cubicBezTo>
                  <a:pt x="214" y="149"/>
                  <a:pt x="214" y="149"/>
                  <a:pt x="214" y="149"/>
                </a:cubicBezTo>
                <a:cubicBezTo>
                  <a:pt x="224" y="154"/>
                  <a:pt x="224" y="154"/>
                  <a:pt x="224" y="154"/>
                </a:cubicBezTo>
                <a:cubicBezTo>
                  <a:pt x="239" y="154"/>
                  <a:pt x="255" y="157"/>
                  <a:pt x="270" y="164"/>
                </a:cubicBezTo>
                <a:cubicBezTo>
                  <a:pt x="286" y="172"/>
                  <a:pt x="294" y="182"/>
                  <a:pt x="294" y="196"/>
                </a:cubicBezTo>
                <a:cubicBezTo>
                  <a:pt x="298" y="205"/>
                  <a:pt x="298" y="205"/>
                  <a:pt x="298" y="205"/>
                </a:cubicBezTo>
                <a:cubicBezTo>
                  <a:pt x="308" y="210"/>
                  <a:pt x="308" y="210"/>
                  <a:pt x="308" y="210"/>
                </a:cubicBezTo>
                <a:cubicBezTo>
                  <a:pt x="318" y="205"/>
                  <a:pt x="318" y="205"/>
                  <a:pt x="318" y="205"/>
                </a:cubicBezTo>
                <a:cubicBezTo>
                  <a:pt x="322" y="196"/>
                  <a:pt x="322" y="196"/>
                  <a:pt x="322" y="196"/>
                </a:cubicBezTo>
                <a:cubicBezTo>
                  <a:pt x="322" y="180"/>
                  <a:pt x="317" y="167"/>
                  <a:pt x="306" y="156"/>
                </a:cubicBez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1" name="Rectangle 10"/>
          <p:cNvSpPr/>
          <p:nvPr/>
        </p:nvSpPr>
        <p:spPr>
          <a:xfrm>
            <a:off x="7130791" y="3944137"/>
            <a:ext cx="377009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  <a:tabLst>
                <a:tab pos="457200" algn="l"/>
                <a:tab pos="589280" algn="l"/>
              </a:tabLst>
            </a:pP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mplete this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ssessment based on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he champions’ behaviors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on the current project or on past projects.</a:t>
            </a:r>
          </a:p>
        </p:txBody>
      </p:sp>
      <p:sp>
        <p:nvSpPr>
          <p:cNvPr id="8" name="Rectangle 7"/>
          <p:cNvSpPr/>
          <p:nvPr/>
        </p:nvSpPr>
        <p:spPr>
          <a:xfrm>
            <a:off x="7180625" y="4847650"/>
            <a:ext cx="3843623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  <a:tabLst>
                <a:tab pos="457200" algn="l"/>
                <a:tab pos="589280" algn="l"/>
              </a:tabLst>
            </a:pP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If you do not have information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for a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articular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individual,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request an interview and ask them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he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questions in person. </a:t>
            </a:r>
          </a:p>
        </p:txBody>
      </p:sp>
      <p:sp>
        <p:nvSpPr>
          <p:cNvPr id="19" name="Rectangle 18"/>
          <p:cNvSpPr/>
          <p:nvPr/>
        </p:nvSpPr>
        <p:spPr>
          <a:xfrm>
            <a:off x="3544584" y="5748726"/>
            <a:ext cx="60027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400" b="1" dirty="0" smtClean="0"/>
              <a:t>On to </a:t>
            </a:r>
            <a:r>
              <a:rPr lang="en-US" sz="2400" b="1" dirty="0" err="1" smtClean="0"/>
              <a:t>Analyse</a:t>
            </a:r>
            <a:r>
              <a:rPr lang="en-US" sz="2400" b="1" dirty="0" smtClean="0"/>
              <a:t>!</a:t>
            </a:r>
            <a:endParaRPr lang="en-CA" sz="2400" dirty="0"/>
          </a:p>
        </p:txBody>
      </p:sp>
      <p:sp>
        <p:nvSpPr>
          <p:cNvPr id="20" name="Freeform 19" descr="green arrow pointing to the right" title="green arrow"/>
          <p:cNvSpPr>
            <a:spLocks/>
          </p:cNvSpPr>
          <p:nvPr/>
        </p:nvSpPr>
        <p:spPr bwMode="auto">
          <a:xfrm rot="14507603">
            <a:off x="10172171" y="5034087"/>
            <a:ext cx="1198983" cy="1890940"/>
          </a:xfrm>
          <a:custGeom>
            <a:avLst/>
            <a:gdLst>
              <a:gd name="T0" fmla="*/ 492 w 600"/>
              <a:gd name="T1" fmla="*/ 0 h 1115"/>
              <a:gd name="T2" fmla="*/ 489 w 600"/>
              <a:gd name="T3" fmla="*/ 169 h 1115"/>
              <a:gd name="T4" fmla="*/ 452 w 600"/>
              <a:gd name="T5" fmla="*/ 254 h 1115"/>
              <a:gd name="T6" fmla="*/ 446 w 600"/>
              <a:gd name="T7" fmla="*/ 265 h 1115"/>
              <a:gd name="T8" fmla="*/ 143 w 600"/>
              <a:gd name="T9" fmla="*/ 930 h 1115"/>
              <a:gd name="T10" fmla="*/ 210 w 600"/>
              <a:gd name="T11" fmla="*/ 874 h 1115"/>
              <a:gd name="T12" fmla="*/ 364 w 600"/>
              <a:gd name="T13" fmla="*/ 769 h 1115"/>
              <a:gd name="T14" fmla="*/ 390 w 600"/>
              <a:gd name="T15" fmla="*/ 807 h 1115"/>
              <a:gd name="T16" fmla="*/ 387 w 600"/>
              <a:gd name="T17" fmla="*/ 813 h 1115"/>
              <a:gd name="T18" fmla="*/ 256 w 600"/>
              <a:gd name="T19" fmla="*/ 915 h 1115"/>
              <a:gd name="T20" fmla="*/ 259 w 600"/>
              <a:gd name="T21" fmla="*/ 924 h 1115"/>
              <a:gd name="T22" fmla="*/ 247 w 600"/>
              <a:gd name="T23" fmla="*/ 941 h 1115"/>
              <a:gd name="T24" fmla="*/ 207 w 600"/>
              <a:gd name="T25" fmla="*/ 979 h 1115"/>
              <a:gd name="T26" fmla="*/ 58 w 600"/>
              <a:gd name="T27" fmla="*/ 1108 h 1115"/>
              <a:gd name="T28" fmla="*/ 0 w 600"/>
              <a:gd name="T29" fmla="*/ 1081 h 1115"/>
              <a:gd name="T30" fmla="*/ 41 w 600"/>
              <a:gd name="T31" fmla="*/ 1038 h 1115"/>
              <a:gd name="T32" fmla="*/ 23 w 600"/>
              <a:gd name="T33" fmla="*/ 927 h 1115"/>
              <a:gd name="T34" fmla="*/ 35 w 600"/>
              <a:gd name="T35" fmla="*/ 909 h 1115"/>
              <a:gd name="T36" fmla="*/ 26 w 600"/>
              <a:gd name="T37" fmla="*/ 667 h 1115"/>
              <a:gd name="T38" fmla="*/ 90 w 600"/>
              <a:gd name="T39" fmla="*/ 909 h 1115"/>
              <a:gd name="T40" fmla="*/ 145 w 600"/>
              <a:gd name="T41" fmla="*/ 799 h 1115"/>
              <a:gd name="T42" fmla="*/ 169 w 600"/>
              <a:gd name="T43" fmla="*/ 772 h 1115"/>
              <a:gd name="T44" fmla="*/ 180 w 600"/>
              <a:gd name="T45" fmla="*/ 737 h 1115"/>
              <a:gd name="T46" fmla="*/ 204 w 600"/>
              <a:gd name="T47" fmla="*/ 702 h 1115"/>
              <a:gd name="T48" fmla="*/ 210 w 600"/>
              <a:gd name="T49" fmla="*/ 670 h 1115"/>
              <a:gd name="T50" fmla="*/ 224 w 600"/>
              <a:gd name="T51" fmla="*/ 665 h 1115"/>
              <a:gd name="T52" fmla="*/ 215 w 600"/>
              <a:gd name="T53" fmla="*/ 665 h 1115"/>
              <a:gd name="T54" fmla="*/ 230 w 600"/>
              <a:gd name="T55" fmla="*/ 647 h 1115"/>
              <a:gd name="T56" fmla="*/ 230 w 600"/>
              <a:gd name="T57" fmla="*/ 627 h 1115"/>
              <a:gd name="T58" fmla="*/ 239 w 600"/>
              <a:gd name="T59" fmla="*/ 627 h 1115"/>
              <a:gd name="T60" fmla="*/ 236 w 600"/>
              <a:gd name="T61" fmla="*/ 615 h 1115"/>
              <a:gd name="T62" fmla="*/ 239 w 600"/>
              <a:gd name="T63" fmla="*/ 621 h 1115"/>
              <a:gd name="T64" fmla="*/ 242 w 600"/>
              <a:gd name="T65" fmla="*/ 597 h 1115"/>
              <a:gd name="T66" fmla="*/ 259 w 600"/>
              <a:gd name="T67" fmla="*/ 577 h 1115"/>
              <a:gd name="T68" fmla="*/ 262 w 600"/>
              <a:gd name="T69" fmla="*/ 554 h 1115"/>
              <a:gd name="T70" fmla="*/ 277 w 600"/>
              <a:gd name="T71" fmla="*/ 536 h 1115"/>
              <a:gd name="T72" fmla="*/ 282 w 600"/>
              <a:gd name="T73" fmla="*/ 525 h 1115"/>
              <a:gd name="T74" fmla="*/ 303 w 600"/>
              <a:gd name="T75" fmla="*/ 472 h 1115"/>
              <a:gd name="T76" fmla="*/ 320 w 600"/>
              <a:gd name="T77" fmla="*/ 449 h 1115"/>
              <a:gd name="T78" fmla="*/ 352 w 600"/>
              <a:gd name="T79" fmla="*/ 350 h 1115"/>
              <a:gd name="T80" fmla="*/ 370 w 600"/>
              <a:gd name="T81" fmla="*/ 332 h 1115"/>
              <a:gd name="T82" fmla="*/ 385 w 600"/>
              <a:gd name="T83" fmla="*/ 283 h 1115"/>
              <a:gd name="T84" fmla="*/ 472 w 600"/>
              <a:gd name="T85" fmla="*/ 67 h 1115"/>
              <a:gd name="T86" fmla="*/ 492 w 600"/>
              <a:gd name="T87" fmla="*/ 0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0" h="1115">
                <a:moveTo>
                  <a:pt x="492" y="0"/>
                </a:moveTo>
                <a:cubicBezTo>
                  <a:pt x="600" y="3"/>
                  <a:pt x="508" y="123"/>
                  <a:pt x="489" y="169"/>
                </a:cubicBezTo>
                <a:cubicBezTo>
                  <a:pt x="478" y="199"/>
                  <a:pt x="468" y="228"/>
                  <a:pt x="452" y="254"/>
                </a:cubicBezTo>
                <a:cubicBezTo>
                  <a:pt x="451" y="255"/>
                  <a:pt x="446" y="264"/>
                  <a:pt x="446" y="265"/>
                </a:cubicBezTo>
                <a:cubicBezTo>
                  <a:pt x="360" y="478"/>
                  <a:pt x="239" y="724"/>
                  <a:pt x="143" y="930"/>
                </a:cubicBezTo>
                <a:cubicBezTo>
                  <a:pt x="171" y="911"/>
                  <a:pt x="177" y="886"/>
                  <a:pt x="210" y="874"/>
                </a:cubicBezTo>
                <a:cubicBezTo>
                  <a:pt x="251" y="829"/>
                  <a:pt x="291" y="783"/>
                  <a:pt x="364" y="769"/>
                </a:cubicBezTo>
                <a:cubicBezTo>
                  <a:pt x="376" y="779"/>
                  <a:pt x="394" y="782"/>
                  <a:pt x="390" y="807"/>
                </a:cubicBezTo>
                <a:cubicBezTo>
                  <a:pt x="388" y="808"/>
                  <a:pt x="388" y="811"/>
                  <a:pt x="387" y="813"/>
                </a:cubicBezTo>
                <a:cubicBezTo>
                  <a:pt x="335" y="837"/>
                  <a:pt x="285" y="878"/>
                  <a:pt x="256" y="915"/>
                </a:cubicBezTo>
                <a:cubicBezTo>
                  <a:pt x="250" y="914"/>
                  <a:pt x="257" y="924"/>
                  <a:pt x="259" y="924"/>
                </a:cubicBezTo>
                <a:cubicBezTo>
                  <a:pt x="258" y="931"/>
                  <a:pt x="241" y="937"/>
                  <a:pt x="247" y="941"/>
                </a:cubicBezTo>
                <a:cubicBezTo>
                  <a:pt x="238" y="947"/>
                  <a:pt x="207" y="949"/>
                  <a:pt x="207" y="979"/>
                </a:cubicBezTo>
                <a:cubicBezTo>
                  <a:pt x="162" y="991"/>
                  <a:pt x="106" y="1089"/>
                  <a:pt x="58" y="1108"/>
                </a:cubicBezTo>
                <a:cubicBezTo>
                  <a:pt x="39" y="1115"/>
                  <a:pt x="5" y="1104"/>
                  <a:pt x="0" y="1081"/>
                </a:cubicBezTo>
                <a:cubicBezTo>
                  <a:pt x="3" y="1070"/>
                  <a:pt x="43" y="1048"/>
                  <a:pt x="41" y="1038"/>
                </a:cubicBezTo>
                <a:cubicBezTo>
                  <a:pt x="32" y="1008"/>
                  <a:pt x="42" y="944"/>
                  <a:pt x="23" y="927"/>
                </a:cubicBezTo>
                <a:cubicBezTo>
                  <a:pt x="25" y="919"/>
                  <a:pt x="31" y="916"/>
                  <a:pt x="35" y="909"/>
                </a:cubicBezTo>
                <a:cubicBezTo>
                  <a:pt x="34" y="840"/>
                  <a:pt x="38" y="733"/>
                  <a:pt x="26" y="667"/>
                </a:cubicBezTo>
                <a:cubicBezTo>
                  <a:pt x="139" y="635"/>
                  <a:pt x="82" y="842"/>
                  <a:pt x="90" y="909"/>
                </a:cubicBezTo>
                <a:cubicBezTo>
                  <a:pt x="114" y="885"/>
                  <a:pt x="134" y="835"/>
                  <a:pt x="145" y="799"/>
                </a:cubicBezTo>
                <a:cubicBezTo>
                  <a:pt x="157" y="810"/>
                  <a:pt x="148" y="773"/>
                  <a:pt x="169" y="772"/>
                </a:cubicBezTo>
                <a:cubicBezTo>
                  <a:pt x="158" y="762"/>
                  <a:pt x="177" y="744"/>
                  <a:pt x="180" y="737"/>
                </a:cubicBezTo>
                <a:cubicBezTo>
                  <a:pt x="187" y="725"/>
                  <a:pt x="189" y="701"/>
                  <a:pt x="204" y="702"/>
                </a:cubicBezTo>
                <a:cubicBezTo>
                  <a:pt x="200" y="686"/>
                  <a:pt x="218" y="673"/>
                  <a:pt x="210" y="670"/>
                </a:cubicBezTo>
                <a:cubicBezTo>
                  <a:pt x="213" y="656"/>
                  <a:pt x="221" y="679"/>
                  <a:pt x="224" y="665"/>
                </a:cubicBezTo>
                <a:cubicBezTo>
                  <a:pt x="221" y="656"/>
                  <a:pt x="221" y="674"/>
                  <a:pt x="215" y="665"/>
                </a:cubicBezTo>
                <a:cubicBezTo>
                  <a:pt x="220" y="647"/>
                  <a:pt x="218" y="652"/>
                  <a:pt x="230" y="647"/>
                </a:cubicBezTo>
                <a:cubicBezTo>
                  <a:pt x="227" y="647"/>
                  <a:pt x="222" y="633"/>
                  <a:pt x="230" y="627"/>
                </a:cubicBezTo>
                <a:cubicBezTo>
                  <a:pt x="231" y="626"/>
                  <a:pt x="238" y="628"/>
                  <a:pt x="239" y="627"/>
                </a:cubicBezTo>
                <a:cubicBezTo>
                  <a:pt x="241" y="622"/>
                  <a:pt x="233" y="620"/>
                  <a:pt x="236" y="615"/>
                </a:cubicBezTo>
                <a:cubicBezTo>
                  <a:pt x="237" y="613"/>
                  <a:pt x="240" y="620"/>
                  <a:pt x="239" y="621"/>
                </a:cubicBezTo>
                <a:cubicBezTo>
                  <a:pt x="246" y="618"/>
                  <a:pt x="238" y="608"/>
                  <a:pt x="242" y="597"/>
                </a:cubicBezTo>
                <a:cubicBezTo>
                  <a:pt x="244" y="591"/>
                  <a:pt x="254" y="586"/>
                  <a:pt x="259" y="577"/>
                </a:cubicBezTo>
                <a:cubicBezTo>
                  <a:pt x="262" y="571"/>
                  <a:pt x="260" y="559"/>
                  <a:pt x="262" y="554"/>
                </a:cubicBezTo>
                <a:cubicBezTo>
                  <a:pt x="266" y="543"/>
                  <a:pt x="277" y="538"/>
                  <a:pt x="277" y="536"/>
                </a:cubicBezTo>
                <a:cubicBezTo>
                  <a:pt x="277" y="534"/>
                  <a:pt x="271" y="521"/>
                  <a:pt x="282" y="525"/>
                </a:cubicBezTo>
                <a:cubicBezTo>
                  <a:pt x="282" y="508"/>
                  <a:pt x="306" y="493"/>
                  <a:pt x="303" y="472"/>
                </a:cubicBezTo>
                <a:cubicBezTo>
                  <a:pt x="306" y="462"/>
                  <a:pt x="314" y="456"/>
                  <a:pt x="320" y="449"/>
                </a:cubicBezTo>
                <a:cubicBezTo>
                  <a:pt x="332" y="418"/>
                  <a:pt x="335" y="385"/>
                  <a:pt x="352" y="350"/>
                </a:cubicBezTo>
                <a:cubicBezTo>
                  <a:pt x="350" y="354"/>
                  <a:pt x="368" y="337"/>
                  <a:pt x="370" y="332"/>
                </a:cubicBezTo>
                <a:cubicBezTo>
                  <a:pt x="377" y="318"/>
                  <a:pt x="378" y="298"/>
                  <a:pt x="385" y="283"/>
                </a:cubicBezTo>
                <a:cubicBezTo>
                  <a:pt x="414" y="212"/>
                  <a:pt x="449" y="139"/>
                  <a:pt x="472" y="67"/>
                </a:cubicBezTo>
                <a:cubicBezTo>
                  <a:pt x="479" y="46"/>
                  <a:pt x="488" y="24"/>
                  <a:pt x="492" y="0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3367481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4"/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accent4"/>
                </a:solidFill>
              </a:rPr>
              <a:t>Analyze… </a:t>
            </a:r>
            <a:r>
              <a:rPr lang="en-US" dirty="0" smtClean="0"/>
              <a:t>the results of the assessment (1)</a:t>
            </a:r>
            <a:endParaRPr lang="en-CA" dirty="0">
              <a:solidFill>
                <a:schemeClr val="accent1"/>
              </a:solidFill>
            </a:endParaRPr>
          </a:p>
        </p:txBody>
      </p:sp>
      <p:sp>
        <p:nvSpPr>
          <p:cNvPr id="43" name="Freeform 42" descr="AngleDoubleRight Icon"/>
          <p:cNvSpPr>
            <a:spLocks noEditPoints="1"/>
          </p:cNvSpPr>
          <p:nvPr/>
        </p:nvSpPr>
        <p:spPr bwMode="auto">
          <a:xfrm>
            <a:off x="613485" y="1553609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graphicFrame>
        <p:nvGraphicFramePr>
          <p:cNvPr id="48" name="Table 47" title="gray squar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75267019"/>
              </p:ext>
            </p:extLst>
          </p:nvPr>
        </p:nvGraphicFramePr>
        <p:xfrm>
          <a:off x="1260839" y="1529813"/>
          <a:ext cx="4414685" cy="25603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14685"/>
              </a:tblGrid>
              <a:tr h="1494443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10"/>
                        <a:tabLst/>
                        <a:defRPr/>
                      </a:pPr>
                      <a:r>
                        <a:rPr lang="en-US" dirty="0" smtClean="0"/>
                        <a:t>On the “</a:t>
                      </a:r>
                      <a:r>
                        <a:rPr lang="en-US" b="1" dirty="0" smtClean="0"/>
                        <a:t>ANALYSIS</a:t>
                      </a:r>
                      <a:r>
                        <a:rPr lang="en-US" baseline="0" dirty="0" smtClean="0"/>
                        <a:t>”</a:t>
                      </a:r>
                      <a:r>
                        <a:rPr lang="en-US" dirty="0" smtClean="0"/>
                        <a:t> tab, you will find a</a:t>
                      </a:r>
                      <a:r>
                        <a:rPr lang="en-US" baseline="0" dirty="0" smtClean="0"/>
                        <a:t> compilation of all the assessment results; the sponsor’s results separately on the left, and the champions results on the right tha</a:t>
                      </a:r>
                      <a:r>
                        <a:rPr lang="en-US" dirty="0" smtClean="0"/>
                        <a:t>t form the </a:t>
                      </a:r>
                      <a:r>
                        <a:rPr lang="en-US" b="1" baseline="0" dirty="0" smtClean="0"/>
                        <a:t>Sponsorship coalition assessment</a:t>
                      </a:r>
                      <a:r>
                        <a:rPr lang="en-US" baseline="0" dirty="0" smtClean="0"/>
                        <a:t>. 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10"/>
                        <a:tabLst/>
                        <a:defRPr/>
                      </a:pPr>
                      <a:r>
                        <a:rPr lang="en-US" baseline="0" dirty="0" smtClean="0"/>
                        <a:t>The table below shows the quantity of </a:t>
                      </a:r>
                      <a:r>
                        <a:rPr lang="en-US" b="1" baseline="0" dirty="0" smtClean="0"/>
                        <a:t>letter/number designations </a:t>
                      </a:r>
                      <a:r>
                        <a:rPr lang="en-US" b="0" baseline="0" dirty="0" smtClean="0"/>
                        <a:t>for the champions</a:t>
                      </a:r>
                      <a:r>
                        <a:rPr lang="en-US" baseline="0" dirty="0" smtClean="0"/>
                        <a:t>.</a:t>
                      </a:r>
                      <a:endParaRPr lang="en-US" b="1" i="0" baseline="0" dirty="0" smtClean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6" name="Table 45" title="white box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61860597"/>
              </p:ext>
            </p:extLst>
          </p:nvPr>
        </p:nvGraphicFramePr>
        <p:xfrm>
          <a:off x="6449242" y="1529813"/>
          <a:ext cx="5069349" cy="266436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69349"/>
              </a:tblGrid>
              <a:tr h="477997">
                <a:tc>
                  <a:txBody>
                    <a:bodyPr/>
                    <a:lstStyle/>
                    <a:p>
                      <a:pPr algn="l"/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Letter/number designation:</a:t>
                      </a:r>
                      <a:endParaRPr lang="en-CA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186364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en-US" sz="1800" b="1" dirty="0" smtClean="0"/>
                        <a:t>              </a:t>
                      </a:r>
                      <a:r>
                        <a:rPr lang="en-US" sz="1600" b="1" dirty="0" smtClean="0"/>
                        <a:t>Green </a:t>
                      </a:r>
                      <a:r>
                        <a:rPr lang="en-US" sz="1500" dirty="0" smtClean="0"/>
                        <a:t>Supports the change and has demonstrated</a:t>
                      </a:r>
                      <a:br>
                        <a:rPr lang="en-US" sz="1500" dirty="0" smtClean="0"/>
                      </a:br>
                      <a:r>
                        <a:rPr lang="en-US" sz="1500" dirty="0" smtClean="0"/>
                        <a:t>                 a high-level of sponsor competency</a:t>
                      </a:r>
                    </a:p>
                    <a:p>
                      <a:pPr>
                        <a:defRPr/>
                      </a:pPr>
                      <a:endParaRPr lang="en-US" sz="1600" dirty="0" smtClean="0"/>
                    </a:p>
                    <a:p>
                      <a:pPr>
                        <a:defRPr/>
                      </a:pPr>
                      <a:r>
                        <a:rPr lang="en-US" sz="1600" b="1" dirty="0" smtClean="0"/>
                        <a:t>                Yellow</a:t>
                      </a:r>
                      <a:r>
                        <a:rPr lang="en-US" sz="1600" b="1" baseline="0" dirty="0" smtClean="0"/>
                        <a:t> </a:t>
                      </a:r>
                      <a:r>
                        <a:rPr lang="en-US" sz="1500" dirty="0" smtClean="0"/>
                        <a:t>Supports the change and has demonstrated a             </a:t>
                      </a:r>
                    </a:p>
                    <a:p>
                      <a:pPr>
                        <a:defRPr/>
                      </a:pPr>
                      <a:r>
                        <a:rPr lang="en-US" sz="1500" dirty="0" smtClean="0"/>
                        <a:t>                  moderate level of sponsor competency</a:t>
                      </a:r>
                    </a:p>
                    <a:p>
                      <a:pPr>
                        <a:defRPr/>
                      </a:pPr>
                      <a:endParaRPr lang="en-US" sz="1500" dirty="0" smtClean="0"/>
                    </a:p>
                    <a:p>
                      <a:pPr>
                        <a:defRPr/>
                      </a:pPr>
                      <a:r>
                        <a:rPr lang="en-US" sz="1600" b="1" dirty="0" smtClean="0"/>
                        <a:t>                Red </a:t>
                      </a:r>
                      <a:r>
                        <a:rPr lang="en-US" sz="1500" dirty="0" smtClean="0"/>
                        <a:t>Neutral or opposed to the change or has </a:t>
                      </a:r>
                    </a:p>
                    <a:p>
                      <a:pPr>
                        <a:defRPr/>
                      </a:pPr>
                      <a:r>
                        <a:rPr lang="en-US" sz="1500" dirty="0" smtClean="0"/>
                        <a:t>                 demonstrated a low level of sponsor competency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AD6975D3-15CF-4479-9604-09622A35A04F}"/>
              </a:ext>
            </a:extLst>
          </p:cNvPr>
          <p:cNvSpPr/>
          <p:nvPr/>
        </p:nvSpPr>
        <p:spPr bwMode="auto">
          <a:xfrm>
            <a:off x="6568296" y="2134659"/>
            <a:ext cx="587974" cy="567836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schemeClr val="bg1"/>
                </a:solidFill>
              </a:rPr>
              <a:t>A1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07491EF1-2D51-4D94-A956-E4AC107044EC}"/>
              </a:ext>
            </a:extLst>
          </p:cNvPr>
          <p:cNvSpPr/>
          <p:nvPr/>
        </p:nvSpPr>
        <p:spPr bwMode="auto">
          <a:xfrm>
            <a:off x="6568296" y="2785777"/>
            <a:ext cx="587974" cy="56783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b="1" dirty="0">
                <a:solidFill>
                  <a:schemeClr val="bg1"/>
                </a:solidFill>
              </a:rPr>
              <a:t>A2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8BD1FE60-746F-4D52-8B04-1D61479D3962}"/>
              </a:ext>
            </a:extLst>
          </p:cNvPr>
          <p:cNvSpPr/>
          <p:nvPr/>
        </p:nvSpPr>
        <p:spPr bwMode="auto">
          <a:xfrm>
            <a:off x="6568296" y="3436897"/>
            <a:ext cx="602483" cy="567821"/>
          </a:xfrm>
          <a:prstGeom prst="rect">
            <a:avLst/>
          </a:prstGeom>
          <a:solidFill>
            <a:srgbClr val="D7172F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anchor="ctr"/>
          <a:lstStyle/>
          <a:p>
            <a:pPr algn="ctr">
              <a:defRPr/>
            </a:pPr>
            <a:r>
              <a:rPr lang="en-US" sz="1600" b="1" dirty="0">
                <a:solidFill>
                  <a:schemeClr val="bg1"/>
                </a:solidFill>
              </a:rPr>
              <a:t>B1, B2, B3</a:t>
            </a:r>
            <a:r>
              <a:rPr lang="en-US" sz="1600" b="1" dirty="0" smtClean="0">
                <a:solidFill>
                  <a:schemeClr val="bg1"/>
                </a:solidFill>
              </a:rPr>
              <a:t>, </a:t>
            </a:r>
            <a:r>
              <a:rPr lang="en-US" sz="1600" b="1" dirty="0">
                <a:solidFill>
                  <a:schemeClr val="bg1"/>
                </a:solidFill>
              </a:rPr>
              <a:t>A3</a:t>
            </a:r>
          </a:p>
        </p:txBody>
      </p:sp>
      <p:sp>
        <p:nvSpPr>
          <p:cNvPr id="26" name="Freeform 25" descr="the arrow is linking the text on the left to the image to the bottom right" title="orange arrow"/>
          <p:cNvSpPr>
            <a:spLocks noEditPoints="1"/>
          </p:cNvSpPr>
          <p:nvPr/>
        </p:nvSpPr>
        <p:spPr bwMode="auto">
          <a:xfrm rot="16563860" flipH="1">
            <a:off x="1773774" y="4225039"/>
            <a:ext cx="1030933" cy="954945"/>
          </a:xfrm>
          <a:custGeom>
            <a:avLst/>
            <a:gdLst>
              <a:gd name="T0" fmla="*/ 863 w 1110"/>
              <a:gd name="T1" fmla="*/ 1194 h 1194"/>
              <a:gd name="T2" fmla="*/ 855 w 1110"/>
              <a:gd name="T3" fmla="*/ 1186 h 1194"/>
              <a:gd name="T4" fmla="*/ 832 w 1110"/>
              <a:gd name="T5" fmla="*/ 1161 h 1194"/>
              <a:gd name="T6" fmla="*/ 783 w 1110"/>
              <a:gd name="T7" fmla="*/ 1109 h 1194"/>
              <a:gd name="T8" fmla="*/ 486 w 1110"/>
              <a:gd name="T9" fmla="*/ 921 h 1194"/>
              <a:gd name="T10" fmla="*/ 480 w 1110"/>
              <a:gd name="T11" fmla="*/ 918 h 1194"/>
              <a:gd name="T12" fmla="*/ 472 w 1110"/>
              <a:gd name="T13" fmla="*/ 916 h 1194"/>
              <a:gd name="T14" fmla="*/ 438 w 1110"/>
              <a:gd name="T15" fmla="*/ 894 h 1194"/>
              <a:gd name="T16" fmla="*/ 436 w 1110"/>
              <a:gd name="T17" fmla="*/ 863 h 1194"/>
              <a:gd name="T18" fmla="*/ 472 w 1110"/>
              <a:gd name="T19" fmla="*/ 835 h 1194"/>
              <a:gd name="T20" fmla="*/ 500 w 1110"/>
              <a:gd name="T21" fmla="*/ 842 h 1194"/>
              <a:gd name="T22" fmla="*/ 507 w 1110"/>
              <a:gd name="T23" fmla="*/ 845 h 1194"/>
              <a:gd name="T24" fmla="*/ 824 w 1110"/>
              <a:gd name="T25" fmla="*/ 1060 h 1194"/>
              <a:gd name="T26" fmla="*/ 672 w 1110"/>
              <a:gd name="T27" fmla="*/ 564 h 1194"/>
              <a:gd name="T28" fmla="*/ 447 w 1110"/>
              <a:gd name="T29" fmla="*/ 225 h 1194"/>
              <a:gd name="T30" fmla="*/ 128 w 1110"/>
              <a:gd name="T31" fmla="*/ 68 h 1194"/>
              <a:gd name="T32" fmla="*/ 64 w 1110"/>
              <a:gd name="T33" fmla="*/ 61 h 1194"/>
              <a:gd name="T34" fmla="*/ 0 w 1110"/>
              <a:gd name="T35" fmla="*/ 54 h 1194"/>
              <a:gd name="T36" fmla="*/ 2 w 1110"/>
              <a:gd name="T37" fmla="*/ 7 h 1194"/>
              <a:gd name="T38" fmla="*/ 31 w 1110"/>
              <a:gd name="T39" fmla="*/ 4 h 1194"/>
              <a:gd name="T40" fmla="*/ 85 w 1110"/>
              <a:gd name="T41" fmla="*/ 0 h 1194"/>
              <a:gd name="T42" fmla="*/ 100 w 1110"/>
              <a:gd name="T43" fmla="*/ 0 h 1194"/>
              <a:gd name="T44" fmla="*/ 632 w 1110"/>
              <a:gd name="T45" fmla="*/ 311 h 1194"/>
              <a:gd name="T46" fmla="*/ 844 w 1110"/>
              <a:gd name="T47" fmla="*/ 748 h 1194"/>
              <a:gd name="T48" fmla="*/ 891 w 1110"/>
              <a:gd name="T49" fmla="*/ 937 h 1194"/>
              <a:gd name="T50" fmla="*/ 901 w 1110"/>
              <a:gd name="T51" fmla="*/ 982 h 1194"/>
              <a:gd name="T52" fmla="*/ 924 w 1110"/>
              <a:gd name="T53" fmla="*/ 947 h 1194"/>
              <a:gd name="T54" fmla="*/ 1027 w 1110"/>
              <a:gd name="T55" fmla="*/ 827 h 1194"/>
              <a:gd name="T56" fmla="*/ 1061 w 1110"/>
              <a:gd name="T57" fmla="*/ 814 h 1194"/>
              <a:gd name="T58" fmla="*/ 1068 w 1110"/>
              <a:gd name="T59" fmla="*/ 813 h 1194"/>
              <a:gd name="T60" fmla="*/ 1110 w 1110"/>
              <a:gd name="T61" fmla="*/ 804 h 1194"/>
              <a:gd name="T62" fmla="*/ 1095 w 1110"/>
              <a:gd name="T63" fmla="*/ 845 h 1194"/>
              <a:gd name="T64" fmla="*/ 1093 w 1110"/>
              <a:gd name="T65" fmla="*/ 852 h 1194"/>
              <a:gd name="T66" fmla="*/ 1076 w 1110"/>
              <a:gd name="T67" fmla="*/ 882 h 1194"/>
              <a:gd name="T68" fmla="*/ 920 w 1110"/>
              <a:gd name="T69" fmla="*/ 1085 h 1194"/>
              <a:gd name="T70" fmla="*/ 918 w 1110"/>
              <a:gd name="T71" fmla="*/ 1102 h 1194"/>
              <a:gd name="T72" fmla="*/ 917 w 1110"/>
              <a:gd name="T73" fmla="*/ 1120 h 1194"/>
              <a:gd name="T74" fmla="*/ 910 w 1110"/>
              <a:gd name="T75" fmla="*/ 1158 h 1194"/>
              <a:gd name="T76" fmla="*/ 907 w 1110"/>
              <a:gd name="T77" fmla="*/ 1173 h 1194"/>
              <a:gd name="T78" fmla="*/ 904 w 1110"/>
              <a:gd name="T79" fmla="*/ 1191 h 1194"/>
              <a:gd name="T80" fmla="*/ 885 w 1110"/>
              <a:gd name="T81" fmla="*/ 1192 h 1194"/>
              <a:gd name="T82" fmla="*/ 876 w 1110"/>
              <a:gd name="T83" fmla="*/ 1193 h 1194"/>
              <a:gd name="T84" fmla="*/ 863 w 1110"/>
              <a:gd name="T85" fmla="*/ 1194 h 1194"/>
              <a:gd name="T86" fmla="*/ 721 w 1110"/>
              <a:gd name="T87" fmla="*/ 556 h 1194"/>
              <a:gd name="T88" fmla="*/ 838 w 1110"/>
              <a:gd name="T89" fmla="*/ 919 h 1194"/>
              <a:gd name="T90" fmla="*/ 798 w 1110"/>
              <a:gd name="T91" fmla="*/ 762 h 1194"/>
              <a:gd name="T92" fmla="*/ 721 w 1110"/>
              <a:gd name="T93" fmla="*/ 556 h 1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110" h="1194">
                <a:moveTo>
                  <a:pt x="863" y="1194"/>
                </a:moveTo>
                <a:cubicBezTo>
                  <a:pt x="855" y="1186"/>
                  <a:pt x="855" y="1186"/>
                  <a:pt x="855" y="1186"/>
                </a:cubicBezTo>
                <a:cubicBezTo>
                  <a:pt x="848" y="1177"/>
                  <a:pt x="840" y="1169"/>
                  <a:pt x="832" y="1161"/>
                </a:cubicBezTo>
                <a:cubicBezTo>
                  <a:pt x="816" y="1143"/>
                  <a:pt x="800" y="1126"/>
                  <a:pt x="783" y="1109"/>
                </a:cubicBezTo>
                <a:cubicBezTo>
                  <a:pt x="684" y="1010"/>
                  <a:pt x="590" y="950"/>
                  <a:pt x="486" y="921"/>
                </a:cubicBezTo>
                <a:cubicBezTo>
                  <a:pt x="483" y="920"/>
                  <a:pt x="481" y="919"/>
                  <a:pt x="480" y="918"/>
                </a:cubicBezTo>
                <a:cubicBezTo>
                  <a:pt x="478" y="918"/>
                  <a:pt x="475" y="917"/>
                  <a:pt x="472" y="916"/>
                </a:cubicBezTo>
                <a:cubicBezTo>
                  <a:pt x="462" y="913"/>
                  <a:pt x="446" y="909"/>
                  <a:pt x="438" y="894"/>
                </a:cubicBezTo>
                <a:cubicBezTo>
                  <a:pt x="435" y="888"/>
                  <a:pt x="432" y="877"/>
                  <a:pt x="436" y="863"/>
                </a:cubicBezTo>
                <a:cubicBezTo>
                  <a:pt x="442" y="845"/>
                  <a:pt x="455" y="835"/>
                  <a:pt x="472" y="835"/>
                </a:cubicBezTo>
                <a:cubicBezTo>
                  <a:pt x="483" y="835"/>
                  <a:pt x="493" y="839"/>
                  <a:pt x="500" y="842"/>
                </a:cubicBezTo>
                <a:cubicBezTo>
                  <a:pt x="503" y="844"/>
                  <a:pt x="505" y="845"/>
                  <a:pt x="507" y="845"/>
                </a:cubicBezTo>
                <a:cubicBezTo>
                  <a:pt x="623" y="883"/>
                  <a:pt x="725" y="952"/>
                  <a:pt x="824" y="1060"/>
                </a:cubicBezTo>
                <a:cubicBezTo>
                  <a:pt x="780" y="881"/>
                  <a:pt x="737" y="719"/>
                  <a:pt x="672" y="564"/>
                </a:cubicBezTo>
                <a:cubicBezTo>
                  <a:pt x="619" y="436"/>
                  <a:pt x="543" y="322"/>
                  <a:pt x="447" y="225"/>
                </a:cubicBezTo>
                <a:cubicBezTo>
                  <a:pt x="365" y="142"/>
                  <a:pt x="261" y="91"/>
                  <a:pt x="128" y="68"/>
                </a:cubicBezTo>
                <a:cubicBezTo>
                  <a:pt x="107" y="64"/>
                  <a:pt x="86" y="63"/>
                  <a:pt x="64" y="61"/>
                </a:cubicBezTo>
                <a:cubicBezTo>
                  <a:pt x="43" y="59"/>
                  <a:pt x="22" y="58"/>
                  <a:pt x="0" y="54"/>
                </a:cubicBezTo>
                <a:cubicBezTo>
                  <a:pt x="2" y="7"/>
                  <a:pt x="2" y="7"/>
                  <a:pt x="2" y="7"/>
                </a:cubicBezTo>
                <a:cubicBezTo>
                  <a:pt x="12" y="6"/>
                  <a:pt x="21" y="5"/>
                  <a:pt x="31" y="4"/>
                </a:cubicBezTo>
                <a:cubicBezTo>
                  <a:pt x="49" y="2"/>
                  <a:pt x="67" y="0"/>
                  <a:pt x="85" y="0"/>
                </a:cubicBezTo>
                <a:cubicBezTo>
                  <a:pt x="90" y="0"/>
                  <a:pt x="95" y="0"/>
                  <a:pt x="100" y="0"/>
                </a:cubicBezTo>
                <a:cubicBezTo>
                  <a:pt x="314" y="15"/>
                  <a:pt x="488" y="117"/>
                  <a:pt x="632" y="311"/>
                </a:cubicBezTo>
                <a:cubicBezTo>
                  <a:pt x="724" y="435"/>
                  <a:pt x="793" y="578"/>
                  <a:pt x="844" y="748"/>
                </a:cubicBezTo>
                <a:cubicBezTo>
                  <a:pt x="863" y="810"/>
                  <a:pt x="877" y="875"/>
                  <a:pt x="891" y="937"/>
                </a:cubicBezTo>
                <a:cubicBezTo>
                  <a:pt x="894" y="952"/>
                  <a:pt x="898" y="967"/>
                  <a:pt x="901" y="982"/>
                </a:cubicBezTo>
                <a:cubicBezTo>
                  <a:pt x="908" y="970"/>
                  <a:pt x="915" y="958"/>
                  <a:pt x="924" y="947"/>
                </a:cubicBezTo>
                <a:cubicBezTo>
                  <a:pt x="956" y="905"/>
                  <a:pt x="992" y="865"/>
                  <a:pt x="1027" y="827"/>
                </a:cubicBezTo>
                <a:cubicBezTo>
                  <a:pt x="1037" y="816"/>
                  <a:pt x="1051" y="815"/>
                  <a:pt x="1061" y="814"/>
                </a:cubicBezTo>
                <a:cubicBezTo>
                  <a:pt x="1063" y="814"/>
                  <a:pt x="1066" y="814"/>
                  <a:pt x="1068" y="813"/>
                </a:cubicBezTo>
                <a:cubicBezTo>
                  <a:pt x="1110" y="804"/>
                  <a:pt x="1110" y="804"/>
                  <a:pt x="1110" y="804"/>
                </a:cubicBezTo>
                <a:cubicBezTo>
                  <a:pt x="1095" y="845"/>
                  <a:pt x="1095" y="845"/>
                  <a:pt x="1095" y="845"/>
                </a:cubicBezTo>
                <a:cubicBezTo>
                  <a:pt x="1095" y="847"/>
                  <a:pt x="1094" y="849"/>
                  <a:pt x="1093" y="852"/>
                </a:cubicBezTo>
                <a:cubicBezTo>
                  <a:pt x="1091" y="861"/>
                  <a:pt x="1088" y="874"/>
                  <a:pt x="1076" y="882"/>
                </a:cubicBezTo>
                <a:cubicBezTo>
                  <a:pt x="1006" y="931"/>
                  <a:pt x="964" y="1003"/>
                  <a:pt x="920" y="1085"/>
                </a:cubicBezTo>
                <a:cubicBezTo>
                  <a:pt x="918" y="1088"/>
                  <a:pt x="918" y="1096"/>
                  <a:pt x="918" y="1102"/>
                </a:cubicBezTo>
                <a:cubicBezTo>
                  <a:pt x="918" y="1107"/>
                  <a:pt x="918" y="1114"/>
                  <a:pt x="917" y="1120"/>
                </a:cubicBezTo>
                <a:cubicBezTo>
                  <a:pt x="915" y="1133"/>
                  <a:pt x="912" y="1146"/>
                  <a:pt x="910" y="1158"/>
                </a:cubicBezTo>
                <a:cubicBezTo>
                  <a:pt x="909" y="1163"/>
                  <a:pt x="908" y="1168"/>
                  <a:pt x="907" y="1173"/>
                </a:cubicBezTo>
                <a:cubicBezTo>
                  <a:pt x="904" y="1191"/>
                  <a:pt x="904" y="1191"/>
                  <a:pt x="904" y="1191"/>
                </a:cubicBezTo>
                <a:cubicBezTo>
                  <a:pt x="885" y="1192"/>
                  <a:pt x="885" y="1192"/>
                  <a:pt x="885" y="1192"/>
                </a:cubicBezTo>
                <a:cubicBezTo>
                  <a:pt x="882" y="1192"/>
                  <a:pt x="879" y="1193"/>
                  <a:pt x="876" y="1193"/>
                </a:cubicBezTo>
                <a:lnTo>
                  <a:pt x="863" y="1194"/>
                </a:lnTo>
                <a:close/>
                <a:moveTo>
                  <a:pt x="721" y="556"/>
                </a:moveTo>
                <a:cubicBezTo>
                  <a:pt x="769" y="672"/>
                  <a:pt x="805" y="792"/>
                  <a:pt x="838" y="919"/>
                </a:cubicBezTo>
                <a:cubicBezTo>
                  <a:pt x="826" y="867"/>
                  <a:pt x="814" y="813"/>
                  <a:pt x="798" y="762"/>
                </a:cubicBezTo>
                <a:cubicBezTo>
                  <a:pt x="776" y="688"/>
                  <a:pt x="750" y="620"/>
                  <a:pt x="721" y="55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pic>
        <p:nvPicPr>
          <p:cNvPr id="2" name="Picture 1" descr="From top to bottom: A1: 0 green, A2: 0 yellow, A3: 0 red, B1: 0 red, B2: 0 red, B3: 0 red." title="distribution of A1s A2s A3s B1s B2 and B3s (champions only) image"/>
          <p:cNvPicPr>
            <a:picLocks noChangeAspect="1"/>
          </p:cNvPicPr>
          <p:nvPr/>
        </p:nvPicPr>
        <p:blipFill rotWithShape="1">
          <a:blip r:embed="rId2"/>
          <a:srcRect t="2473"/>
          <a:stretch/>
        </p:blipFill>
        <p:spPr>
          <a:xfrm>
            <a:off x="2923953" y="4315127"/>
            <a:ext cx="2720749" cy="2013776"/>
          </a:xfrm>
          <a:prstGeom prst="rect">
            <a:avLst/>
          </a:prstGeom>
          <a:ln w="38100">
            <a:solidFill>
              <a:schemeClr val="accent6"/>
            </a:solidFill>
          </a:ln>
        </p:spPr>
      </p:pic>
      <p:sp>
        <p:nvSpPr>
          <p:cNvPr id="11" name="Freeform 10" descr="LightBulb Icon"/>
          <p:cNvSpPr>
            <a:spLocks noEditPoints="1"/>
          </p:cNvSpPr>
          <p:nvPr/>
        </p:nvSpPr>
        <p:spPr bwMode="auto">
          <a:xfrm rot="21258215">
            <a:off x="6955168" y="4635830"/>
            <a:ext cx="571500" cy="855341"/>
          </a:xfrm>
          <a:custGeom>
            <a:avLst/>
            <a:gdLst>
              <a:gd name="T0" fmla="*/ 377 w 448"/>
              <a:gd name="T1" fmla="*/ 53 h 671"/>
              <a:gd name="T2" fmla="*/ 224 w 448"/>
              <a:gd name="T3" fmla="*/ 0 h 671"/>
              <a:gd name="T4" fmla="*/ 71 w 448"/>
              <a:gd name="T5" fmla="*/ 53 h 671"/>
              <a:gd name="T6" fmla="*/ 0 w 448"/>
              <a:gd name="T7" fmla="*/ 196 h 671"/>
              <a:gd name="T8" fmla="*/ 78 w 448"/>
              <a:gd name="T9" fmla="*/ 351 h 671"/>
              <a:gd name="T10" fmla="*/ 119 w 448"/>
              <a:gd name="T11" fmla="*/ 440 h 671"/>
              <a:gd name="T12" fmla="*/ 109 w 448"/>
              <a:gd name="T13" fmla="*/ 503 h 671"/>
              <a:gd name="T14" fmla="*/ 118 w 448"/>
              <a:gd name="T15" fmla="*/ 567 h 671"/>
              <a:gd name="T16" fmla="*/ 126 w 448"/>
              <a:gd name="T17" fmla="*/ 618 h 671"/>
              <a:gd name="T18" fmla="*/ 186 w 448"/>
              <a:gd name="T19" fmla="*/ 660 h 671"/>
              <a:gd name="T20" fmla="*/ 262 w 448"/>
              <a:gd name="T21" fmla="*/ 660 h 671"/>
              <a:gd name="T22" fmla="*/ 322 w 448"/>
              <a:gd name="T23" fmla="*/ 618 h 671"/>
              <a:gd name="T24" fmla="*/ 330 w 448"/>
              <a:gd name="T25" fmla="*/ 567 h 671"/>
              <a:gd name="T26" fmla="*/ 339 w 448"/>
              <a:gd name="T27" fmla="*/ 503 h 671"/>
              <a:gd name="T28" fmla="*/ 329 w 448"/>
              <a:gd name="T29" fmla="*/ 440 h 671"/>
              <a:gd name="T30" fmla="*/ 370 w 448"/>
              <a:gd name="T31" fmla="*/ 351 h 671"/>
              <a:gd name="T32" fmla="*/ 448 w 448"/>
              <a:gd name="T33" fmla="*/ 196 h 671"/>
              <a:gd name="T34" fmla="*/ 362 w 448"/>
              <a:gd name="T35" fmla="*/ 274 h 671"/>
              <a:gd name="T36" fmla="*/ 336 w 448"/>
              <a:gd name="T37" fmla="*/ 303 h 671"/>
              <a:gd name="T38" fmla="*/ 174 w 448"/>
              <a:gd name="T39" fmla="*/ 433 h 671"/>
              <a:gd name="T40" fmla="*/ 99 w 448"/>
              <a:gd name="T41" fmla="*/ 289 h 671"/>
              <a:gd name="T42" fmla="*/ 56 w 448"/>
              <a:gd name="T43" fmla="*/ 196 h 671"/>
              <a:gd name="T44" fmla="*/ 111 w 448"/>
              <a:gd name="T45" fmla="*/ 93 h 671"/>
              <a:gd name="T46" fmla="*/ 224 w 448"/>
              <a:gd name="T47" fmla="*/ 56 h 671"/>
              <a:gd name="T48" fmla="*/ 338 w 448"/>
              <a:gd name="T49" fmla="*/ 93 h 671"/>
              <a:gd name="T50" fmla="*/ 392 w 448"/>
              <a:gd name="T51" fmla="*/ 196 h 671"/>
              <a:gd name="T52" fmla="*/ 306 w 448"/>
              <a:gd name="T53" fmla="*/ 156 h 671"/>
              <a:gd name="T54" fmla="*/ 224 w 448"/>
              <a:gd name="T55" fmla="*/ 126 h 671"/>
              <a:gd name="T56" fmla="*/ 210 w 448"/>
              <a:gd name="T57" fmla="*/ 139 h 671"/>
              <a:gd name="T58" fmla="*/ 224 w 448"/>
              <a:gd name="T59" fmla="*/ 154 h 671"/>
              <a:gd name="T60" fmla="*/ 294 w 448"/>
              <a:gd name="T61" fmla="*/ 196 h 671"/>
              <a:gd name="T62" fmla="*/ 308 w 448"/>
              <a:gd name="T63" fmla="*/ 210 h 671"/>
              <a:gd name="T64" fmla="*/ 322 w 448"/>
              <a:gd name="T65" fmla="*/ 196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48" h="671">
                <a:moveTo>
                  <a:pt x="429" y="115"/>
                </a:moveTo>
                <a:cubicBezTo>
                  <a:pt x="416" y="90"/>
                  <a:pt x="398" y="69"/>
                  <a:pt x="377" y="53"/>
                </a:cubicBezTo>
                <a:cubicBezTo>
                  <a:pt x="356" y="36"/>
                  <a:pt x="332" y="23"/>
                  <a:pt x="306" y="14"/>
                </a:cubicBezTo>
                <a:cubicBezTo>
                  <a:pt x="279" y="4"/>
                  <a:pt x="252" y="0"/>
                  <a:pt x="224" y="0"/>
                </a:cubicBezTo>
                <a:cubicBezTo>
                  <a:pt x="196" y="0"/>
                  <a:pt x="169" y="4"/>
                  <a:pt x="142" y="14"/>
                </a:cubicBezTo>
                <a:cubicBezTo>
                  <a:pt x="116" y="23"/>
                  <a:pt x="92" y="36"/>
                  <a:pt x="71" y="53"/>
                </a:cubicBezTo>
                <a:cubicBezTo>
                  <a:pt x="50" y="69"/>
                  <a:pt x="32" y="90"/>
                  <a:pt x="20" y="115"/>
                </a:cubicBezTo>
                <a:cubicBezTo>
                  <a:pt x="7" y="140"/>
                  <a:pt x="0" y="167"/>
                  <a:pt x="0" y="196"/>
                </a:cubicBezTo>
                <a:cubicBezTo>
                  <a:pt x="0" y="241"/>
                  <a:pt x="15" y="280"/>
                  <a:pt x="45" y="313"/>
                </a:cubicBezTo>
                <a:cubicBezTo>
                  <a:pt x="58" y="327"/>
                  <a:pt x="69" y="340"/>
                  <a:pt x="78" y="351"/>
                </a:cubicBezTo>
                <a:cubicBezTo>
                  <a:pt x="86" y="362"/>
                  <a:pt x="95" y="376"/>
                  <a:pt x="104" y="393"/>
                </a:cubicBezTo>
                <a:cubicBezTo>
                  <a:pt x="112" y="409"/>
                  <a:pt x="117" y="425"/>
                  <a:pt x="119" y="440"/>
                </a:cubicBezTo>
                <a:cubicBezTo>
                  <a:pt x="105" y="448"/>
                  <a:pt x="98" y="460"/>
                  <a:pt x="98" y="475"/>
                </a:cubicBezTo>
                <a:cubicBezTo>
                  <a:pt x="98" y="486"/>
                  <a:pt x="102" y="496"/>
                  <a:pt x="109" y="503"/>
                </a:cubicBezTo>
                <a:cubicBezTo>
                  <a:pt x="102" y="511"/>
                  <a:pt x="98" y="521"/>
                  <a:pt x="98" y="531"/>
                </a:cubicBezTo>
                <a:cubicBezTo>
                  <a:pt x="98" y="547"/>
                  <a:pt x="105" y="558"/>
                  <a:pt x="118" y="567"/>
                </a:cubicBezTo>
                <a:cubicBezTo>
                  <a:pt x="114" y="574"/>
                  <a:pt x="112" y="580"/>
                  <a:pt x="112" y="587"/>
                </a:cubicBezTo>
                <a:cubicBezTo>
                  <a:pt x="112" y="601"/>
                  <a:pt x="117" y="611"/>
                  <a:pt x="126" y="618"/>
                </a:cubicBezTo>
                <a:cubicBezTo>
                  <a:pt x="135" y="626"/>
                  <a:pt x="146" y="629"/>
                  <a:pt x="160" y="629"/>
                </a:cubicBezTo>
                <a:cubicBezTo>
                  <a:pt x="166" y="642"/>
                  <a:pt x="174" y="652"/>
                  <a:pt x="186" y="660"/>
                </a:cubicBezTo>
                <a:cubicBezTo>
                  <a:pt x="198" y="668"/>
                  <a:pt x="210" y="671"/>
                  <a:pt x="224" y="671"/>
                </a:cubicBezTo>
                <a:cubicBezTo>
                  <a:pt x="238" y="671"/>
                  <a:pt x="250" y="668"/>
                  <a:pt x="262" y="660"/>
                </a:cubicBezTo>
                <a:cubicBezTo>
                  <a:pt x="274" y="652"/>
                  <a:pt x="283" y="642"/>
                  <a:pt x="288" y="629"/>
                </a:cubicBezTo>
                <a:cubicBezTo>
                  <a:pt x="302" y="629"/>
                  <a:pt x="313" y="626"/>
                  <a:pt x="322" y="618"/>
                </a:cubicBezTo>
                <a:cubicBezTo>
                  <a:pt x="331" y="611"/>
                  <a:pt x="336" y="601"/>
                  <a:pt x="336" y="587"/>
                </a:cubicBezTo>
                <a:cubicBezTo>
                  <a:pt x="336" y="580"/>
                  <a:pt x="334" y="574"/>
                  <a:pt x="330" y="567"/>
                </a:cubicBezTo>
                <a:cubicBezTo>
                  <a:pt x="343" y="558"/>
                  <a:pt x="350" y="547"/>
                  <a:pt x="350" y="531"/>
                </a:cubicBezTo>
                <a:cubicBezTo>
                  <a:pt x="350" y="521"/>
                  <a:pt x="346" y="511"/>
                  <a:pt x="339" y="503"/>
                </a:cubicBezTo>
                <a:cubicBezTo>
                  <a:pt x="346" y="496"/>
                  <a:pt x="350" y="486"/>
                  <a:pt x="350" y="475"/>
                </a:cubicBezTo>
                <a:cubicBezTo>
                  <a:pt x="350" y="460"/>
                  <a:pt x="343" y="448"/>
                  <a:pt x="329" y="440"/>
                </a:cubicBezTo>
                <a:cubicBezTo>
                  <a:pt x="331" y="425"/>
                  <a:pt x="336" y="409"/>
                  <a:pt x="344" y="393"/>
                </a:cubicBezTo>
                <a:cubicBezTo>
                  <a:pt x="353" y="376"/>
                  <a:pt x="362" y="362"/>
                  <a:pt x="370" y="351"/>
                </a:cubicBezTo>
                <a:cubicBezTo>
                  <a:pt x="379" y="340"/>
                  <a:pt x="390" y="327"/>
                  <a:pt x="403" y="313"/>
                </a:cubicBezTo>
                <a:cubicBezTo>
                  <a:pt x="433" y="280"/>
                  <a:pt x="448" y="241"/>
                  <a:pt x="448" y="196"/>
                </a:cubicBezTo>
                <a:cubicBezTo>
                  <a:pt x="448" y="167"/>
                  <a:pt x="442" y="140"/>
                  <a:pt x="429" y="115"/>
                </a:cubicBezTo>
                <a:close/>
                <a:moveTo>
                  <a:pt x="362" y="274"/>
                </a:moveTo>
                <a:cubicBezTo>
                  <a:pt x="359" y="278"/>
                  <a:pt x="355" y="282"/>
                  <a:pt x="349" y="289"/>
                </a:cubicBezTo>
                <a:cubicBezTo>
                  <a:pt x="343" y="295"/>
                  <a:pt x="338" y="300"/>
                  <a:pt x="336" y="303"/>
                </a:cubicBezTo>
                <a:cubicBezTo>
                  <a:pt x="298" y="348"/>
                  <a:pt x="278" y="391"/>
                  <a:pt x="274" y="433"/>
                </a:cubicBezTo>
                <a:cubicBezTo>
                  <a:pt x="174" y="433"/>
                  <a:pt x="174" y="433"/>
                  <a:pt x="174" y="433"/>
                </a:cubicBezTo>
                <a:cubicBezTo>
                  <a:pt x="170" y="391"/>
                  <a:pt x="150" y="348"/>
                  <a:pt x="112" y="303"/>
                </a:cubicBezTo>
                <a:cubicBezTo>
                  <a:pt x="110" y="300"/>
                  <a:pt x="105" y="295"/>
                  <a:pt x="99" y="289"/>
                </a:cubicBezTo>
                <a:cubicBezTo>
                  <a:pt x="93" y="282"/>
                  <a:pt x="89" y="278"/>
                  <a:pt x="86" y="274"/>
                </a:cubicBezTo>
                <a:cubicBezTo>
                  <a:pt x="66" y="251"/>
                  <a:pt x="56" y="225"/>
                  <a:pt x="56" y="196"/>
                </a:cubicBezTo>
                <a:cubicBezTo>
                  <a:pt x="56" y="175"/>
                  <a:pt x="61" y="155"/>
                  <a:pt x="71" y="137"/>
                </a:cubicBezTo>
                <a:cubicBezTo>
                  <a:pt x="81" y="119"/>
                  <a:pt x="94" y="104"/>
                  <a:pt x="111" y="93"/>
                </a:cubicBezTo>
                <a:cubicBezTo>
                  <a:pt x="127" y="81"/>
                  <a:pt x="145" y="72"/>
                  <a:pt x="164" y="65"/>
                </a:cubicBezTo>
                <a:cubicBezTo>
                  <a:pt x="184" y="59"/>
                  <a:pt x="204" y="56"/>
                  <a:pt x="224" y="56"/>
                </a:cubicBezTo>
                <a:cubicBezTo>
                  <a:pt x="244" y="56"/>
                  <a:pt x="264" y="59"/>
                  <a:pt x="284" y="65"/>
                </a:cubicBezTo>
                <a:cubicBezTo>
                  <a:pt x="303" y="72"/>
                  <a:pt x="321" y="81"/>
                  <a:pt x="338" y="93"/>
                </a:cubicBezTo>
                <a:cubicBezTo>
                  <a:pt x="354" y="104"/>
                  <a:pt x="367" y="119"/>
                  <a:pt x="377" y="137"/>
                </a:cubicBezTo>
                <a:cubicBezTo>
                  <a:pt x="387" y="155"/>
                  <a:pt x="392" y="175"/>
                  <a:pt x="392" y="196"/>
                </a:cubicBezTo>
                <a:cubicBezTo>
                  <a:pt x="392" y="225"/>
                  <a:pt x="382" y="251"/>
                  <a:pt x="362" y="274"/>
                </a:cubicBezTo>
                <a:close/>
                <a:moveTo>
                  <a:pt x="306" y="156"/>
                </a:moveTo>
                <a:cubicBezTo>
                  <a:pt x="295" y="145"/>
                  <a:pt x="282" y="137"/>
                  <a:pt x="268" y="133"/>
                </a:cubicBezTo>
                <a:cubicBezTo>
                  <a:pt x="253" y="128"/>
                  <a:pt x="239" y="126"/>
                  <a:pt x="224" y="126"/>
                </a:cubicBezTo>
                <a:cubicBezTo>
                  <a:pt x="214" y="130"/>
                  <a:pt x="214" y="130"/>
                  <a:pt x="214" y="130"/>
                </a:cubicBezTo>
                <a:cubicBezTo>
                  <a:pt x="210" y="139"/>
                  <a:pt x="210" y="139"/>
                  <a:pt x="210" y="139"/>
                </a:cubicBezTo>
                <a:cubicBezTo>
                  <a:pt x="214" y="149"/>
                  <a:pt x="214" y="149"/>
                  <a:pt x="214" y="149"/>
                </a:cubicBezTo>
                <a:cubicBezTo>
                  <a:pt x="224" y="154"/>
                  <a:pt x="224" y="154"/>
                  <a:pt x="224" y="154"/>
                </a:cubicBezTo>
                <a:cubicBezTo>
                  <a:pt x="239" y="154"/>
                  <a:pt x="255" y="157"/>
                  <a:pt x="270" y="164"/>
                </a:cubicBezTo>
                <a:cubicBezTo>
                  <a:pt x="286" y="172"/>
                  <a:pt x="294" y="182"/>
                  <a:pt x="294" y="196"/>
                </a:cubicBezTo>
                <a:cubicBezTo>
                  <a:pt x="298" y="205"/>
                  <a:pt x="298" y="205"/>
                  <a:pt x="298" y="205"/>
                </a:cubicBezTo>
                <a:cubicBezTo>
                  <a:pt x="308" y="210"/>
                  <a:pt x="308" y="210"/>
                  <a:pt x="308" y="210"/>
                </a:cubicBezTo>
                <a:cubicBezTo>
                  <a:pt x="318" y="205"/>
                  <a:pt x="318" y="205"/>
                  <a:pt x="318" y="205"/>
                </a:cubicBezTo>
                <a:cubicBezTo>
                  <a:pt x="322" y="196"/>
                  <a:pt x="322" y="196"/>
                  <a:pt x="322" y="196"/>
                </a:cubicBezTo>
                <a:cubicBezTo>
                  <a:pt x="322" y="180"/>
                  <a:pt x="317" y="167"/>
                  <a:pt x="306" y="156"/>
                </a:cubicBez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2" name="Rectangle 11"/>
          <p:cNvSpPr/>
          <p:nvPr/>
        </p:nvSpPr>
        <p:spPr>
          <a:xfrm>
            <a:off x="7567707" y="4702512"/>
            <a:ext cx="327803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  <a:tabLst>
                <a:tab pos="457200" algn="l"/>
                <a:tab pos="589280" algn="l"/>
              </a:tabLst>
            </a:pP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o see each individual’s result, you can refer to the “Assess the sponsor” or “Assess the champions” tabs </a:t>
            </a:r>
            <a:endParaRPr lang="en-CA" sz="1400" i="1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206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>
                <a:solidFill>
                  <a:schemeClr val="accent4"/>
                </a:solidFill>
              </a:rPr>
              <a:t>Analyze… </a:t>
            </a:r>
            <a:r>
              <a:rPr lang="en-US" dirty="0"/>
              <a:t>the results of the </a:t>
            </a:r>
            <a:r>
              <a:rPr lang="en-US" dirty="0" smtClean="0"/>
              <a:t>assessment (2)</a:t>
            </a:r>
            <a:endParaRPr lang="en-CA" dirty="0">
              <a:solidFill>
                <a:schemeClr val="accent1"/>
              </a:solidFill>
            </a:endParaRPr>
          </a:p>
        </p:txBody>
      </p:sp>
      <p:sp>
        <p:nvSpPr>
          <p:cNvPr id="43" name="Freeform 42" descr="AngleDoubleRight Icon"/>
          <p:cNvSpPr>
            <a:spLocks noEditPoints="1"/>
          </p:cNvSpPr>
          <p:nvPr/>
        </p:nvSpPr>
        <p:spPr bwMode="auto">
          <a:xfrm>
            <a:off x="613485" y="1553609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graphicFrame>
        <p:nvGraphicFramePr>
          <p:cNvPr id="48" name="Table 47" title="gray squar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7067125"/>
              </p:ext>
            </p:extLst>
          </p:nvPr>
        </p:nvGraphicFramePr>
        <p:xfrm>
          <a:off x="1260839" y="1529813"/>
          <a:ext cx="4414685" cy="43281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14685"/>
              </a:tblGrid>
              <a:tr h="802421"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 startAt="12"/>
                        <a:defRPr/>
                      </a:pPr>
                      <a:r>
                        <a:rPr lang="en-CA" dirty="0" smtClean="0"/>
                        <a:t>This table to the right shows how each </a:t>
                      </a:r>
                      <a:r>
                        <a:rPr lang="en-CA" b="1" dirty="0" smtClean="0"/>
                        <a:t>letter/number designation </a:t>
                      </a:r>
                      <a:r>
                        <a:rPr lang="en-CA" dirty="0" smtClean="0"/>
                        <a:t>might impact your project.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600" b="1" i="0" dirty="0" smtClean="0">
                          <a:solidFill>
                            <a:schemeClr val="tx1"/>
                          </a:solidFill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1</a:t>
                      </a:r>
                      <a:r>
                        <a:rPr lang="en-CA" sz="1600" i="0" dirty="0" smtClean="0">
                          <a:solidFill>
                            <a:schemeClr val="tx1"/>
                          </a:solidFill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is your greatest advocate while</a:t>
                      </a:r>
                      <a:r>
                        <a:rPr lang="en-CA" sz="1600" b="1" i="0" dirty="0" smtClean="0">
                          <a:solidFill>
                            <a:schemeClr val="tx1"/>
                          </a:solidFill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B1 </a:t>
                      </a:r>
                      <a:r>
                        <a:rPr lang="en-CA" sz="1600" i="0" dirty="0" smtClean="0">
                          <a:solidFill>
                            <a:schemeClr val="tx1"/>
                          </a:solidFill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uld be your greatest threat. The level 1 designation means that they completely understand how change sponsorship works, and could use that knowledge to support or undermine the change.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600" b="1" i="0" dirty="0" smtClean="0">
                          <a:solidFill>
                            <a:schemeClr val="tx1"/>
                          </a:solidFill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2</a:t>
                      </a:r>
                      <a:r>
                        <a:rPr lang="en-CA" sz="1600" i="0" dirty="0" smtClean="0">
                          <a:solidFill>
                            <a:schemeClr val="tx1"/>
                          </a:solidFill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or </a:t>
                      </a:r>
                      <a:r>
                        <a:rPr lang="en-CA" sz="1600" b="1" i="0" dirty="0" smtClean="0">
                          <a:solidFill>
                            <a:schemeClr val="tx1"/>
                          </a:solidFill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B3</a:t>
                      </a:r>
                      <a:r>
                        <a:rPr lang="en-CA" sz="1600" i="0" dirty="0" smtClean="0">
                          <a:solidFill>
                            <a:schemeClr val="tx1"/>
                          </a:solidFill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is your greatest barrier, but also an opportunity in terms of education and bringing them around to supporting the change. </a:t>
                      </a:r>
                    </a:p>
                    <a:p>
                      <a:pPr marL="742950" marR="0" lvl="1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CA" sz="1600" b="1" i="0" dirty="0" smtClean="0">
                          <a:solidFill>
                            <a:schemeClr val="tx1"/>
                          </a:solidFill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2</a:t>
                      </a:r>
                      <a:r>
                        <a:rPr lang="en-CA" sz="1600" i="0" dirty="0" smtClean="0">
                          <a:solidFill>
                            <a:schemeClr val="tx1"/>
                          </a:solidFill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or </a:t>
                      </a:r>
                      <a:r>
                        <a:rPr lang="en-CA" sz="1600" b="1" i="0" dirty="0" smtClean="0">
                          <a:solidFill>
                            <a:schemeClr val="tx1"/>
                          </a:solidFill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3 </a:t>
                      </a:r>
                      <a:r>
                        <a:rPr lang="en-CA" sz="1600" i="0" dirty="0" smtClean="0">
                          <a:solidFill>
                            <a:schemeClr val="tx1"/>
                          </a:solidFill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will be your greatest educational challenge since they are supportive already but lack the skills and knowledge to be an effective champion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pic>
        <p:nvPicPr>
          <p:cNvPr id="2" name="Picture 1" descr="4 quadrant table, x axis: Level of competency from low to high and y axis: Level of support from neutral/opposed to for the change. " title="image of results of the assessment tabl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100246" y="1520481"/>
            <a:ext cx="4883187" cy="4087015"/>
          </a:xfrm>
          <a:prstGeom prst="rect">
            <a:avLst/>
          </a:prstGeom>
        </p:spPr>
      </p:pic>
      <p:sp>
        <p:nvSpPr>
          <p:cNvPr id="8" name="Freeform 7" descr="arrow inking the text on the left to the image on the right" title="orange arrow"/>
          <p:cNvSpPr>
            <a:spLocks noEditPoints="1"/>
          </p:cNvSpPr>
          <p:nvPr/>
        </p:nvSpPr>
        <p:spPr bwMode="auto">
          <a:xfrm rot="18389006">
            <a:off x="5584779" y="1184239"/>
            <a:ext cx="1030933" cy="954945"/>
          </a:xfrm>
          <a:custGeom>
            <a:avLst/>
            <a:gdLst>
              <a:gd name="T0" fmla="*/ 863 w 1110"/>
              <a:gd name="T1" fmla="*/ 1194 h 1194"/>
              <a:gd name="T2" fmla="*/ 855 w 1110"/>
              <a:gd name="T3" fmla="*/ 1186 h 1194"/>
              <a:gd name="T4" fmla="*/ 832 w 1110"/>
              <a:gd name="T5" fmla="*/ 1161 h 1194"/>
              <a:gd name="T6" fmla="*/ 783 w 1110"/>
              <a:gd name="T7" fmla="*/ 1109 h 1194"/>
              <a:gd name="T8" fmla="*/ 486 w 1110"/>
              <a:gd name="T9" fmla="*/ 921 h 1194"/>
              <a:gd name="T10" fmla="*/ 480 w 1110"/>
              <a:gd name="T11" fmla="*/ 918 h 1194"/>
              <a:gd name="T12" fmla="*/ 472 w 1110"/>
              <a:gd name="T13" fmla="*/ 916 h 1194"/>
              <a:gd name="T14" fmla="*/ 438 w 1110"/>
              <a:gd name="T15" fmla="*/ 894 h 1194"/>
              <a:gd name="T16" fmla="*/ 436 w 1110"/>
              <a:gd name="T17" fmla="*/ 863 h 1194"/>
              <a:gd name="T18" fmla="*/ 472 w 1110"/>
              <a:gd name="T19" fmla="*/ 835 h 1194"/>
              <a:gd name="T20" fmla="*/ 500 w 1110"/>
              <a:gd name="T21" fmla="*/ 842 h 1194"/>
              <a:gd name="T22" fmla="*/ 507 w 1110"/>
              <a:gd name="T23" fmla="*/ 845 h 1194"/>
              <a:gd name="T24" fmla="*/ 824 w 1110"/>
              <a:gd name="T25" fmla="*/ 1060 h 1194"/>
              <a:gd name="T26" fmla="*/ 672 w 1110"/>
              <a:gd name="T27" fmla="*/ 564 h 1194"/>
              <a:gd name="T28" fmla="*/ 447 w 1110"/>
              <a:gd name="T29" fmla="*/ 225 h 1194"/>
              <a:gd name="T30" fmla="*/ 128 w 1110"/>
              <a:gd name="T31" fmla="*/ 68 h 1194"/>
              <a:gd name="T32" fmla="*/ 64 w 1110"/>
              <a:gd name="T33" fmla="*/ 61 h 1194"/>
              <a:gd name="T34" fmla="*/ 0 w 1110"/>
              <a:gd name="T35" fmla="*/ 54 h 1194"/>
              <a:gd name="T36" fmla="*/ 2 w 1110"/>
              <a:gd name="T37" fmla="*/ 7 h 1194"/>
              <a:gd name="T38" fmla="*/ 31 w 1110"/>
              <a:gd name="T39" fmla="*/ 4 h 1194"/>
              <a:gd name="T40" fmla="*/ 85 w 1110"/>
              <a:gd name="T41" fmla="*/ 0 h 1194"/>
              <a:gd name="T42" fmla="*/ 100 w 1110"/>
              <a:gd name="T43" fmla="*/ 0 h 1194"/>
              <a:gd name="T44" fmla="*/ 632 w 1110"/>
              <a:gd name="T45" fmla="*/ 311 h 1194"/>
              <a:gd name="T46" fmla="*/ 844 w 1110"/>
              <a:gd name="T47" fmla="*/ 748 h 1194"/>
              <a:gd name="T48" fmla="*/ 891 w 1110"/>
              <a:gd name="T49" fmla="*/ 937 h 1194"/>
              <a:gd name="T50" fmla="*/ 901 w 1110"/>
              <a:gd name="T51" fmla="*/ 982 h 1194"/>
              <a:gd name="T52" fmla="*/ 924 w 1110"/>
              <a:gd name="T53" fmla="*/ 947 h 1194"/>
              <a:gd name="T54" fmla="*/ 1027 w 1110"/>
              <a:gd name="T55" fmla="*/ 827 h 1194"/>
              <a:gd name="T56" fmla="*/ 1061 w 1110"/>
              <a:gd name="T57" fmla="*/ 814 h 1194"/>
              <a:gd name="T58" fmla="*/ 1068 w 1110"/>
              <a:gd name="T59" fmla="*/ 813 h 1194"/>
              <a:gd name="T60" fmla="*/ 1110 w 1110"/>
              <a:gd name="T61" fmla="*/ 804 h 1194"/>
              <a:gd name="T62" fmla="*/ 1095 w 1110"/>
              <a:gd name="T63" fmla="*/ 845 h 1194"/>
              <a:gd name="T64" fmla="*/ 1093 w 1110"/>
              <a:gd name="T65" fmla="*/ 852 h 1194"/>
              <a:gd name="T66" fmla="*/ 1076 w 1110"/>
              <a:gd name="T67" fmla="*/ 882 h 1194"/>
              <a:gd name="T68" fmla="*/ 920 w 1110"/>
              <a:gd name="T69" fmla="*/ 1085 h 1194"/>
              <a:gd name="T70" fmla="*/ 918 w 1110"/>
              <a:gd name="T71" fmla="*/ 1102 h 1194"/>
              <a:gd name="T72" fmla="*/ 917 w 1110"/>
              <a:gd name="T73" fmla="*/ 1120 h 1194"/>
              <a:gd name="T74" fmla="*/ 910 w 1110"/>
              <a:gd name="T75" fmla="*/ 1158 h 1194"/>
              <a:gd name="T76" fmla="*/ 907 w 1110"/>
              <a:gd name="T77" fmla="*/ 1173 h 1194"/>
              <a:gd name="T78" fmla="*/ 904 w 1110"/>
              <a:gd name="T79" fmla="*/ 1191 h 1194"/>
              <a:gd name="T80" fmla="*/ 885 w 1110"/>
              <a:gd name="T81" fmla="*/ 1192 h 1194"/>
              <a:gd name="T82" fmla="*/ 876 w 1110"/>
              <a:gd name="T83" fmla="*/ 1193 h 1194"/>
              <a:gd name="T84" fmla="*/ 863 w 1110"/>
              <a:gd name="T85" fmla="*/ 1194 h 1194"/>
              <a:gd name="T86" fmla="*/ 721 w 1110"/>
              <a:gd name="T87" fmla="*/ 556 h 1194"/>
              <a:gd name="T88" fmla="*/ 838 w 1110"/>
              <a:gd name="T89" fmla="*/ 919 h 1194"/>
              <a:gd name="T90" fmla="*/ 798 w 1110"/>
              <a:gd name="T91" fmla="*/ 762 h 1194"/>
              <a:gd name="T92" fmla="*/ 721 w 1110"/>
              <a:gd name="T93" fmla="*/ 556 h 1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110" h="1194">
                <a:moveTo>
                  <a:pt x="863" y="1194"/>
                </a:moveTo>
                <a:cubicBezTo>
                  <a:pt x="855" y="1186"/>
                  <a:pt x="855" y="1186"/>
                  <a:pt x="855" y="1186"/>
                </a:cubicBezTo>
                <a:cubicBezTo>
                  <a:pt x="848" y="1177"/>
                  <a:pt x="840" y="1169"/>
                  <a:pt x="832" y="1161"/>
                </a:cubicBezTo>
                <a:cubicBezTo>
                  <a:pt x="816" y="1143"/>
                  <a:pt x="800" y="1126"/>
                  <a:pt x="783" y="1109"/>
                </a:cubicBezTo>
                <a:cubicBezTo>
                  <a:pt x="684" y="1010"/>
                  <a:pt x="590" y="950"/>
                  <a:pt x="486" y="921"/>
                </a:cubicBezTo>
                <a:cubicBezTo>
                  <a:pt x="483" y="920"/>
                  <a:pt x="481" y="919"/>
                  <a:pt x="480" y="918"/>
                </a:cubicBezTo>
                <a:cubicBezTo>
                  <a:pt x="478" y="918"/>
                  <a:pt x="475" y="917"/>
                  <a:pt x="472" y="916"/>
                </a:cubicBezTo>
                <a:cubicBezTo>
                  <a:pt x="462" y="913"/>
                  <a:pt x="446" y="909"/>
                  <a:pt x="438" y="894"/>
                </a:cubicBezTo>
                <a:cubicBezTo>
                  <a:pt x="435" y="888"/>
                  <a:pt x="432" y="877"/>
                  <a:pt x="436" y="863"/>
                </a:cubicBezTo>
                <a:cubicBezTo>
                  <a:pt x="442" y="845"/>
                  <a:pt x="455" y="835"/>
                  <a:pt x="472" y="835"/>
                </a:cubicBezTo>
                <a:cubicBezTo>
                  <a:pt x="483" y="835"/>
                  <a:pt x="493" y="839"/>
                  <a:pt x="500" y="842"/>
                </a:cubicBezTo>
                <a:cubicBezTo>
                  <a:pt x="503" y="844"/>
                  <a:pt x="505" y="845"/>
                  <a:pt x="507" y="845"/>
                </a:cubicBezTo>
                <a:cubicBezTo>
                  <a:pt x="623" y="883"/>
                  <a:pt x="725" y="952"/>
                  <a:pt x="824" y="1060"/>
                </a:cubicBezTo>
                <a:cubicBezTo>
                  <a:pt x="780" y="881"/>
                  <a:pt x="737" y="719"/>
                  <a:pt x="672" y="564"/>
                </a:cubicBezTo>
                <a:cubicBezTo>
                  <a:pt x="619" y="436"/>
                  <a:pt x="543" y="322"/>
                  <a:pt x="447" y="225"/>
                </a:cubicBezTo>
                <a:cubicBezTo>
                  <a:pt x="365" y="142"/>
                  <a:pt x="261" y="91"/>
                  <a:pt x="128" y="68"/>
                </a:cubicBezTo>
                <a:cubicBezTo>
                  <a:pt x="107" y="64"/>
                  <a:pt x="86" y="63"/>
                  <a:pt x="64" y="61"/>
                </a:cubicBezTo>
                <a:cubicBezTo>
                  <a:pt x="43" y="59"/>
                  <a:pt x="22" y="58"/>
                  <a:pt x="0" y="54"/>
                </a:cubicBezTo>
                <a:cubicBezTo>
                  <a:pt x="2" y="7"/>
                  <a:pt x="2" y="7"/>
                  <a:pt x="2" y="7"/>
                </a:cubicBezTo>
                <a:cubicBezTo>
                  <a:pt x="12" y="6"/>
                  <a:pt x="21" y="5"/>
                  <a:pt x="31" y="4"/>
                </a:cubicBezTo>
                <a:cubicBezTo>
                  <a:pt x="49" y="2"/>
                  <a:pt x="67" y="0"/>
                  <a:pt x="85" y="0"/>
                </a:cubicBezTo>
                <a:cubicBezTo>
                  <a:pt x="90" y="0"/>
                  <a:pt x="95" y="0"/>
                  <a:pt x="100" y="0"/>
                </a:cubicBezTo>
                <a:cubicBezTo>
                  <a:pt x="314" y="15"/>
                  <a:pt x="488" y="117"/>
                  <a:pt x="632" y="311"/>
                </a:cubicBezTo>
                <a:cubicBezTo>
                  <a:pt x="724" y="435"/>
                  <a:pt x="793" y="578"/>
                  <a:pt x="844" y="748"/>
                </a:cubicBezTo>
                <a:cubicBezTo>
                  <a:pt x="863" y="810"/>
                  <a:pt x="877" y="875"/>
                  <a:pt x="891" y="937"/>
                </a:cubicBezTo>
                <a:cubicBezTo>
                  <a:pt x="894" y="952"/>
                  <a:pt x="898" y="967"/>
                  <a:pt x="901" y="982"/>
                </a:cubicBezTo>
                <a:cubicBezTo>
                  <a:pt x="908" y="970"/>
                  <a:pt x="915" y="958"/>
                  <a:pt x="924" y="947"/>
                </a:cubicBezTo>
                <a:cubicBezTo>
                  <a:pt x="956" y="905"/>
                  <a:pt x="992" y="865"/>
                  <a:pt x="1027" y="827"/>
                </a:cubicBezTo>
                <a:cubicBezTo>
                  <a:pt x="1037" y="816"/>
                  <a:pt x="1051" y="815"/>
                  <a:pt x="1061" y="814"/>
                </a:cubicBezTo>
                <a:cubicBezTo>
                  <a:pt x="1063" y="814"/>
                  <a:pt x="1066" y="814"/>
                  <a:pt x="1068" y="813"/>
                </a:cubicBezTo>
                <a:cubicBezTo>
                  <a:pt x="1110" y="804"/>
                  <a:pt x="1110" y="804"/>
                  <a:pt x="1110" y="804"/>
                </a:cubicBezTo>
                <a:cubicBezTo>
                  <a:pt x="1095" y="845"/>
                  <a:pt x="1095" y="845"/>
                  <a:pt x="1095" y="845"/>
                </a:cubicBezTo>
                <a:cubicBezTo>
                  <a:pt x="1095" y="847"/>
                  <a:pt x="1094" y="849"/>
                  <a:pt x="1093" y="852"/>
                </a:cubicBezTo>
                <a:cubicBezTo>
                  <a:pt x="1091" y="861"/>
                  <a:pt x="1088" y="874"/>
                  <a:pt x="1076" y="882"/>
                </a:cubicBezTo>
                <a:cubicBezTo>
                  <a:pt x="1006" y="931"/>
                  <a:pt x="964" y="1003"/>
                  <a:pt x="920" y="1085"/>
                </a:cubicBezTo>
                <a:cubicBezTo>
                  <a:pt x="918" y="1088"/>
                  <a:pt x="918" y="1096"/>
                  <a:pt x="918" y="1102"/>
                </a:cubicBezTo>
                <a:cubicBezTo>
                  <a:pt x="918" y="1107"/>
                  <a:pt x="918" y="1114"/>
                  <a:pt x="917" y="1120"/>
                </a:cubicBezTo>
                <a:cubicBezTo>
                  <a:pt x="915" y="1133"/>
                  <a:pt x="912" y="1146"/>
                  <a:pt x="910" y="1158"/>
                </a:cubicBezTo>
                <a:cubicBezTo>
                  <a:pt x="909" y="1163"/>
                  <a:pt x="908" y="1168"/>
                  <a:pt x="907" y="1173"/>
                </a:cubicBezTo>
                <a:cubicBezTo>
                  <a:pt x="904" y="1191"/>
                  <a:pt x="904" y="1191"/>
                  <a:pt x="904" y="1191"/>
                </a:cubicBezTo>
                <a:cubicBezTo>
                  <a:pt x="885" y="1192"/>
                  <a:pt x="885" y="1192"/>
                  <a:pt x="885" y="1192"/>
                </a:cubicBezTo>
                <a:cubicBezTo>
                  <a:pt x="882" y="1192"/>
                  <a:pt x="879" y="1193"/>
                  <a:pt x="876" y="1193"/>
                </a:cubicBezTo>
                <a:lnTo>
                  <a:pt x="863" y="1194"/>
                </a:lnTo>
                <a:close/>
                <a:moveTo>
                  <a:pt x="721" y="556"/>
                </a:moveTo>
                <a:cubicBezTo>
                  <a:pt x="769" y="672"/>
                  <a:pt x="805" y="792"/>
                  <a:pt x="838" y="919"/>
                </a:cubicBezTo>
                <a:cubicBezTo>
                  <a:pt x="826" y="867"/>
                  <a:pt x="814" y="813"/>
                  <a:pt x="798" y="762"/>
                </a:cubicBezTo>
                <a:cubicBezTo>
                  <a:pt x="776" y="688"/>
                  <a:pt x="750" y="620"/>
                  <a:pt x="721" y="55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17" name="Rectangle 16"/>
          <p:cNvSpPr/>
          <p:nvPr/>
        </p:nvSpPr>
        <p:spPr>
          <a:xfrm>
            <a:off x="2828260" y="5748726"/>
            <a:ext cx="671909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400" b="1" dirty="0" smtClean="0"/>
              <a:t>Finally, let’s create the Sponsorship diagram!</a:t>
            </a:r>
            <a:endParaRPr lang="en-CA" sz="2400" dirty="0"/>
          </a:p>
        </p:txBody>
      </p:sp>
      <p:sp>
        <p:nvSpPr>
          <p:cNvPr id="18" name="Freeform 17" descr="arrow pointing to the right" title="orange arrow"/>
          <p:cNvSpPr>
            <a:spLocks/>
          </p:cNvSpPr>
          <p:nvPr/>
        </p:nvSpPr>
        <p:spPr bwMode="auto">
          <a:xfrm rot="14507603">
            <a:off x="10172171" y="5034087"/>
            <a:ext cx="1198983" cy="1890940"/>
          </a:xfrm>
          <a:custGeom>
            <a:avLst/>
            <a:gdLst>
              <a:gd name="T0" fmla="*/ 492 w 600"/>
              <a:gd name="T1" fmla="*/ 0 h 1115"/>
              <a:gd name="T2" fmla="*/ 489 w 600"/>
              <a:gd name="T3" fmla="*/ 169 h 1115"/>
              <a:gd name="T4" fmla="*/ 452 w 600"/>
              <a:gd name="T5" fmla="*/ 254 h 1115"/>
              <a:gd name="T6" fmla="*/ 446 w 600"/>
              <a:gd name="T7" fmla="*/ 265 h 1115"/>
              <a:gd name="T8" fmla="*/ 143 w 600"/>
              <a:gd name="T9" fmla="*/ 930 h 1115"/>
              <a:gd name="T10" fmla="*/ 210 w 600"/>
              <a:gd name="T11" fmla="*/ 874 h 1115"/>
              <a:gd name="T12" fmla="*/ 364 w 600"/>
              <a:gd name="T13" fmla="*/ 769 h 1115"/>
              <a:gd name="T14" fmla="*/ 390 w 600"/>
              <a:gd name="T15" fmla="*/ 807 h 1115"/>
              <a:gd name="T16" fmla="*/ 387 w 600"/>
              <a:gd name="T17" fmla="*/ 813 h 1115"/>
              <a:gd name="T18" fmla="*/ 256 w 600"/>
              <a:gd name="T19" fmla="*/ 915 h 1115"/>
              <a:gd name="T20" fmla="*/ 259 w 600"/>
              <a:gd name="T21" fmla="*/ 924 h 1115"/>
              <a:gd name="T22" fmla="*/ 247 w 600"/>
              <a:gd name="T23" fmla="*/ 941 h 1115"/>
              <a:gd name="T24" fmla="*/ 207 w 600"/>
              <a:gd name="T25" fmla="*/ 979 h 1115"/>
              <a:gd name="T26" fmla="*/ 58 w 600"/>
              <a:gd name="T27" fmla="*/ 1108 h 1115"/>
              <a:gd name="T28" fmla="*/ 0 w 600"/>
              <a:gd name="T29" fmla="*/ 1081 h 1115"/>
              <a:gd name="T30" fmla="*/ 41 w 600"/>
              <a:gd name="T31" fmla="*/ 1038 h 1115"/>
              <a:gd name="T32" fmla="*/ 23 w 600"/>
              <a:gd name="T33" fmla="*/ 927 h 1115"/>
              <a:gd name="T34" fmla="*/ 35 w 600"/>
              <a:gd name="T35" fmla="*/ 909 h 1115"/>
              <a:gd name="T36" fmla="*/ 26 w 600"/>
              <a:gd name="T37" fmla="*/ 667 h 1115"/>
              <a:gd name="T38" fmla="*/ 90 w 600"/>
              <a:gd name="T39" fmla="*/ 909 h 1115"/>
              <a:gd name="T40" fmla="*/ 145 w 600"/>
              <a:gd name="T41" fmla="*/ 799 h 1115"/>
              <a:gd name="T42" fmla="*/ 169 w 600"/>
              <a:gd name="T43" fmla="*/ 772 h 1115"/>
              <a:gd name="T44" fmla="*/ 180 w 600"/>
              <a:gd name="T45" fmla="*/ 737 h 1115"/>
              <a:gd name="T46" fmla="*/ 204 w 600"/>
              <a:gd name="T47" fmla="*/ 702 h 1115"/>
              <a:gd name="T48" fmla="*/ 210 w 600"/>
              <a:gd name="T49" fmla="*/ 670 h 1115"/>
              <a:gd name="T50" fmla="*/ 224 w 600"/>
              <a:gd name="T51" fmla="*/ 665 h 1115"/>
              <a:gd name="T52" fmla="*/ 215 w 600"/>
              <a:gd name="T53" fmla="*/ 665 h 1115"/>
              <a:gd name="T54" fmla="*/ 230 w 600"/>
              <a:gd name="T55" fmla="*/ 647 h 1115"/>
              <a:gd name="T56" fmla="*/ 230 w 600"/>
              <a:gd name="T57" fmla="*/ 627 h 1115"/>
              <a:gd name="T58" fmla="*/ 239 w 600"/>
              <a:gd name="T59" fmla="*/ 627 h 1115"/>
              <a:gd name="T60" fmla="*/ 236 w 600"/>
              <a:gd name="T61" fmla="*/ 615 h 1115"/>
              <a:gd name="T62" fmla="*/ 239 w 600"/>
              <a:gd name="T63" fmla="*/ 621 h 1115"/>
              <a:gd name="T64" fmla="*/ 242 w 600"/>
              <a:gd name="T65" fmla="*/ 597 h 1115"/>
              <a:gd name="T66" fmla="*/ 259 w 600"/>
              <a:gd name="T67" fmla="*/ 577 h 1115"/>
              <a:gd name="T68" fmla="*/ 262 w 600"/>
              <a:gd name="T69" fmla="*/ 554 h 1115"/>
              <a:gd name="T70" fmla="*/ 277 w 600"/>
              <a:gd name="T71" fmla="*/ 536 h 1115"/>
              <a:gd name="T72" fmla="*/ 282 w 600"/>
              <a:gd name="T73" fmla="*/ 525 h 1115"/>
              <a:gd name="T74" fmla="*/ 303 w 600"/>
              <a:gd name="T75" fmla="*/ 472 h 1115"/>
              <a:gd name="T76" fmla="*/ 320 w 600"/>
              <a:gd name="T77" fmla="*/ 449 h 1115"/>
              <a:gd name="T78" fmla="*/ 352 w 600"/>
              <a:gd name="T79" fmla="*/ 350 h 1115"/>
              <a:gd name="T80" fmla="*/ 370 w 600"/>
              <a:gd name="T81" fmla="*/ 332 h 1115"/>
              <a:gd name="T82" fmla="*/ 385 w 600"/>
              <a:gd name="T83" fmla="*/ 283 h 1115"/>
              <a:gd name="T84" fmla="*/ 472 w 600"/>
              <a:gd name="T85" fmla="*/ 67 h 1115"/>
              <a:gd name="T86" fmla="*/ 492 w 600"/>
              <a:gd name="T87" fmla="*/ 0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0" h="1115">
                <a:moveTo>
                  <a:pt x="492" y="0"/>
                </a:moveTo>
                <a:cubicBezTo>
                  <a:pt x="600" y="3"/>
                  <a:pt x="508" y="123"/>
                  <a:pt x="489" y="169"/>
                </a:cubicBezTo>
                <a:cubicBezTo>
                  <a:pt x="478" y="199"/>
                  <a:pt x="468" y="228"/>
                  <a:pt x="452" y="254"/>
                </a:cubicBezTo>
                <a:cubicBezTo>
                  <a:pt x="451" y="255"/>
                  <a:pt x="446" y="264"/>
                  <a:pt x="446" y="265"/>
                </a:cubicBezTo>
                <a:cubicBezTo>
                  <a:pt x="360" y="478"/>
                  <a:pt x="239" y="724"/>
                  <a:pt x="143" y="930"/>
                </a:cubicBezTo>
                <a:cubicBezTo>
                  <a:pt x="171" y="911"/>
                  <a:pt x="177" y="886"/>
                  <a:pt x="210" y="874"/>
                </a:cubicBezTo>
                <a:cubicBezTo>
                  <a:pt x="251" y="829"/>
                  <a:pt x="291" y="783"/>
                  <a:pt x="364" y="769"/>
                </a:cubicBezTo>
                <a:cubicBezTo>
                  <a:pt x="376" y="779"/>
                  <a:pt x="394" y="782"/>
                  <a:pt x="390" y="807"/>
                </a:cubicBezTo>
                <a:cubicBezTo>
                  <a:pt x="388" y="808"/>
                  <a:pt x="388" y="811"/>
                  <a:pt x="387" y="813"/>
                </a:cubicBezTo>
                <a:cubicBezTo>
                  <a:pt x="335" y="837"/>
                  <a:pt x="285" y="878"/>
                  <a:pt x="256" y="915"/>
                </a:cubicBezTo>
                <a:cubicBezTo>
                  <a:pt x="250" y="914"/>
                  <a:pt x="257" y="924"/>
                  <a:pt x="259" y="924"/>
                </a:cubicBezTo>
                <a:cubicBezTo>
                  <a:pt x="258" y="931"/>
                  <a:pt x="241" y="937"/>
                  <a:pt x="247" y="941"/>
                </a:cubicBezTo>
                <a:cubicBezTo>
                  <a:pt x="238" y="947"/>
                  <a:pt x="207" y="949"/>
                  <a:pt x="207" y="979"/>
                </a:cubicBezTo>
                <a:cubicBezTo>
                  <a:pt x="162" y="991"/>
                  <a:pt x="106" y="1089"/>
                  <a:pt x="58" y="1108"/>
                </a:cubicBezTo>
                <a:cubicBezTo>
                  <a:pt x="39" y="1115"/>
                  <a:pt x="5" y="1104"/>
                  <a:pt x="0" y="1081"/>
                </a:cubicBezTo>
                <a:cubicBezTo>
                  <a:pt x="3" y="1070"/>
                  <a:pt x="43" y="1048"/>
                  <a:pt x="41" y="1038"/>
                </a:cubicBezTo>
                <a:cubicBezTo>
                  <a:pt x="32" y="1008"/>
                  <a:pt x="42" y="944"/>
                  <a:pt x="23" y="927"/>
                </a:cubicBezTo>
                <a:cubicBezTo>
                  <a:pt x="25" y="919"/>
                  <a:pt x="31" y="916"/>
                  <a:pt x="35" y="909"/>
                </a:cubicBezTo>
                <a:cubicBezTo>
                  <a:pt x="34" y="840"/>
                  <a:pt x="38" y="733"/>
                  <a:pt x="26" y="667"/>
                </a:cubicBezTo>
                <a:cubicBezTo>
                  <a:pt x="139" y="635"/>
                  <a:pt x="82" y="842"/>
                  <a:pt x="90" y="909"/>
                </a:cubicBezTo>
                <a:cubicBezTo>
                  <a:pt x="114" y="885"/>
                  <a:pt x="134" y="835"/>
                  <a:pt x="145" y="799"/>
                </a:cubicBezTo>
                <a:cubicBezTo>
                  <a:pt x="157" y="810"/>
                  <a:pt x="148" y="773"/>
                  <a:pt x="169" y="772"/>
                </a:cubicBezTo>
                <a:cubicBezTo>
                  <a:pt x="158" y="762"/>
                  <a:pt x="177" y="744"/>
                  <a:pt x="180" y="737"/>
                </a:cubicBezTo>
                <a:cubicBezTo>
                  <a:pt x="187" y="725"/>
                  <a:pt x="189" y="701"/>
                  <a:pt x="204" y="702"/>
                </a:cubicBezTo>
                <a:cubicBezTo>
                  <a:pt x="200" y="686"/>
                  <a:pt x="218" y="673"/>
                  <a:pt x="210" y="670"/>
                </a:cubicBezTo>
                <a:cubicBezTo>
                  <a:pt x="213" y="656"/>
                  <a:pt x="221" y="679"/>
                  <a:pt x="224" y="665"/>
                </a:cubicBezTo>
                <a:cubicBezTo>
                  <a:pt x="221" y="656"/>
                  <a:pt x="221" y="674"/>
                  <a:pt x="215" y="665"/>
                </a:cubicBezTo>
                <a:cubicBezTo>
                  <a:pt x="220" y="647"/>
                  <a:pt x="218" y="652"/>
                  <a:pt x="230" y="647"/>
                </a:cubicBezTo>
                <a:cubicBezTo>
                  <a:pt x="227" y="647"/>
                  <a:pt x="222" y="633"/>
                  <a:pt x="230" y="627"/>
                </a:cubicBezTo>
                <a:cubicBezTo>
                  <a:pt x="231" y="626"/>
                  <a:pt x="238" y="628"/>
                  <a:pt x="239" y="627"/>
                </a:cubicBezTo>
                <a:cubicBezTo>
                  <a:pt x="241" y="622"/>
                  <a:pt x="233" y="620"/>
                  <a:pt x="236" y="615"/>
                </a:cubicBezTo>
                <a:cubicBezTo>
                  <a:pt x="237" y="613"/>
                  <a:pt x="240" y="620"/>
                  <a:pt x="239" y="621"/>
                </a:cubicBezTo>
                <a:cubicBezTo>
                  <a:pt x="246" y="618"/>
                  <a:pt x="238" y="608"/>
                  <a:pt x="242" y="597"/>
                </a:cubicBezTo>
                <a:cubicBezTo>
                  <a:pt x="244" y="591"/>
                  <a:pt x="254" y="586"/>
                  <a:pt x="259" y="577"/>
                </a:cubicBezTo>
                <a:cubicBezTo>
                  <a:pt x="262" y="571"/>
                  <a:pt x="260" y="559"/>
                  <a:pt x="262" y="554"/>
                </a:cubicBezTo>
                <a:cubicBezTo>
                  <a:pt x="266" y="543"/>
                  <a:pt x="277" y="538"/>
                  <a:pt x="277" y="536"/>
                </a:cubicBezTo>
                <a:cubicBezTo>
                  <a:pt x="277" y="534"/>
                  <a:pt x="271" y="521"/>
                  <a:pt x="282" y="525"/>
                </a:cubicBezTo>
                <a:cubicBezTo>
                  <a:pt x="282" y="508"/>
                  <a:pt x="306" y="493"/>
                  <a:pt x="303" y="472"/>
                </a:cubicBezTo>
                <a:cubicBezTo>
                  <a:pt x="306" y="462"/>
                  <a:pt x="314" y="456"/>
                  <a:pt x="320" y="449"/>
                </a:cubicBezTo>
                <a:cubicBezTo>
                  <a:pt x="332" y="418"/>
                  <a:pt x="335" y="385"/>
                  <a:pt x="352" y="350"/>
                </a:cubicBezTo>
                <a:cubicBezTo>
                  <a:pt x="350" y="354"/>
                  <a:pt x="368" y="337"/>
                  <a:pt x="370" y="332"/>
                </a:cubicBezTo>
                <a:cubicBezTo>
                  <a:pt x="377" y="318"/>
                  <a:pt x="378" y="298"/>
                  <a:pt x="385" y="283"/>
                </a:cubicBezTo>
                <a:cubicBezTo>
                  <a:pt x="414" y="212"/>
                  <a:pt x="449" y="139"/>
                  <a:pt x="472" y="67"/>
                </a:cubicBezTo>
                <a:cubicBezTo>
                  <a:pt x="479" y="46"/>
                  <a:pt x="488" y="24"/>
                  <a:pt x="492" y="0"/>
                </a:cubicBezTo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4966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4"/>
          <p:cNvSpPr txBox="1">
            <a:spLocks/>
          </p:cNvSpPr>
          <p:nvPr/>
        </p:nvSpPr>
        <p:spPr>
          <a:xfrm>
            <a:off x="661159" y="703261"/>
            <a:ext cx="11006345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schemeClr val="accent4"/>
                </a:solidFill>
              </a:rPr>
              <a:t>Analyze… </a:t>
            </a:r>
            <a:r>
              <a:rPr lang="en-US" dirty="0" smtClean="0"/>
              <a:t>and create the Sponsorship diagram (1)</a:t>
            </a:r>
            <a:endParaRPr lang="en-CA" dirty="0"/>
          </a:p>
        </p:txBody>
      </p:sp>
      <p:sp>
        <p:nvSpPr>
          <p:cNvPr id="17" name="Freeform 16" descr="AngleDoubleRight Icon"/>
          <p:cNvSpPr>
            <a:spLocks noEditPoints="1"/>
          </p:cNvSpPr>
          <p:nvPr/>
        </p:nvSpPr>
        <p:spPr bwMode="auto">
          <a:xfrm>
            <a:off x="613485" y="1553609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graphicFrame>
        <p:nvGraphicFramePr>
          <p:cNvPr id="19" name="Table 18" title="gray squar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2267542"/>
              </p:ext>
            </p:extLst>
          </p:nvPr>
        </p:nvGraphicFramePr>
        <p:xfrm>
          <a:off x="1260839" y="1529812"/>
          <a:ext cx="4414685" cy="338328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14685"/>
              </a:tblGrid>
              <a:tr h="56288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en-US" sz="1800" baseline="0" dirty="0" smtClean="0"/>
                        <a:t>Create the </a:t>
                      </a:r>
                      <a:r>
                        <a:rPr lang="en-US" sz="1800" b="1" baseline="0" dirty="0" smtClean="0"/>
                        <a:t>Sponsorship diagram</a:t>
                      </a:r>
                      <a:r>
                        <a:rPr lang="en-US" sz="1800" b="0" baseline="0" dirty="0" smtClean="0"/>
                        <a:t>: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AutoNum type="arabicPeriod"/>
                        <a:tabLst/>
                        <a:defRPr/>
                      </a:pPr>
                      <a:r>
                        <a:rPr lang="en-US" sz="1800" b="0" baseline="0" dirty="0" smtClean="0"/>
                        <a:t>The diagram is a visual representation of the assessment results</a:t>
                      </a:r>
                      <a:r>
                        <a:rPr lang="en-US" sz="1800" baseline="0" dirty="0" smtClean="0"/>
                        <a:t>. You can start from an existing org chart; however, keep in mind that the champions may not follow the traditional org structure, depending on the complexity and scope of the project.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AutoNum type="arabicPeriod"/>
                        <a:tabLst/>
                        <a:defRPr/>
                      </a:pPr>
                      <a:r>
                        <a:rPr lang="en-US" sz="1800" baseline="0" dirty="0" smtClean="0"/>
                        <a:t>Write the </a:t>
                      </a:r>
                      <a:r>
                        <a:rPr lang="en-US" sz="1800" b="1" baseline="0" dirty="0" smtClean="0"/>
                        <a:t>initials</a:t>
                      </a:r>
                      <a:r>
                        <a:rPr lang="en-US" sz="1800" baseline="0" dirty="0" smtClean="0"/>
                        <a:t> and </a:t>
                      </a:r>
                      <a:r>
                        <a:rPr lang="en-US" sz="1800" b="1" baseline="0" dirty="0" smtClean="0"/>
                        <a:t>letter/number designation</a:t>
                      </a:r>
                      <a:r>
                        <a:rPr lang="en-US" sz="1800" b="0" baseline="0" dirty="0" smtClean="0"/>
                        <a:t> for the sponsor and each champion; use the associated </a:t>
                      </a:r>
                      <a:r>
                        <a:rPr lang="en-CA" sz="1800" b="0" baseline="0" noProof="0" dirty="0" smtClean="0"/>
                        <a:t>colour</a:t>
                      </a:r>
                      <a:r>
                        <a:rPr lang="en-US" sz="1800" b="0" baseline="0" dirty="0" smtClean="0"/>
                        <a:t> for a visual cue of the strengths and gaps</a:t>
                      </a:r>
                      <a:r>
                        <a:rPr lang="en-US" sz="1800" baseline="0" dirty="0" smtClean="0"/>
                        <a:t>.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Diagram 11" title="sponsorship diagram example"/>
          <p:cNvGraphicFramePr/>
          <p:nvPr>
            <p:extLst>
              <p:ext uri="{D42A27DB-BD31-4B8C-83A1-F6EECF244321}">
                <p14:modId xmlns:p14="http://schemas.microsoft.com/office/powerpoint/2010/main" val="2261579119"/>
              </p:ext>
            </p:extLst>
          </p:nvPr>
        </p:nvGraphicFramePr>
        <p:xfrm>
          <a:off x="5900656" y="1529813"/>
          <a:ext cx="5474226" cy="38788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5" name="Freeform 14" descr="arrow linking the text on the left to the image on the right" title="orange arrow"/>
          <p:cNvSpPr>
            <a:spLocks noEditPoints="1"/>
          </p:cNvSpPr>
          <p:nvPr/>
        </p:nvSpPr>
        <p:spPr bwMode="auto">
          <a:xfrm rot="18389006">
            <a:off x="6186858" y="1494980"/>
            <a:ext cx="1030933" cy="954945"/>
          </a:xfrm>
          <a:custGeom>
            <a:avLst/>
            <a:gdLst>
              <a:gd name="T0" fmla="*/ 863 w 1110"/>
              <a:gd name="T1" fmla="*/ 1194 h 1194"/>
              <a:gd name="T2" fmla="*/ 855 w 1110"/>
              <a:gd name="T3" fmla="*/ 1186 h 1194"/>
              <a:gd name="T4" fmla="*/ 832 w 1110"/>
              <a:gd name="T5" fmla="*/ 1161 h 1194"/>
              <a:gd name="T6" fmla="*/ 783 w 1110"/>
              <a:gd name="T7" fmla="*/ 1109 h 1194"/>
              <a:gd name="T8" fmla="*/ 486 w 1110"/>
              <a:gd name="T9" fmla="*/ 921 h 1194"/>
              <a:gd name="T10" fmla="*/ 480 w 1110"/>
              <a:gd name="T11" fmla="*/ 918 h 1194"/>
              <a:gd name="T12" fmla="*/ 472 w 1110"/>
              <a:gd name="T13" fmla="*/ 916 h 1194"/>
              <a:gd name="T14" fmla="*/ 438 w 1110"/>
              <a:gd name="T15" fmla="*/ 894 h 1194"/>
              <a:gd name="T16" fmla="*/ 436 w 1110"/>
              <a:gd name="T17" fmla="*/ 863 h 1194"/>
              <a:gd name="T18" fmla="*/ 472 w 1110"/>
              <a:gd name="T19" fmla="*/ 835 h 1194"/>
              <a:gd name="T20" fmla="*/ 500 w 1110"/>
              <a:gd name="T21" fmla="*/ 842 h 1194"/>
              <a:gd name="T22" fmla="*/ 507 w 1110"/>
              <a:gd name="T23" fmla="*/ 845 h 1194"/>
              <a:gd name="T24" fmla="*/ 824 w 1110"/>
              <a:gd name="T25" fmla="*/ 1060 h 1194"/>
              <a:gd name="T26" fmla="*/ 672 w 1110"/>
              <a:gd name="T27" fmla="*/ 564 h 1194"/>
              <a:gd name="T28" fmla="*/ 447 w 1110"/>
              <a:gd name="T29" fmla="*/ 225 h 1194"/>
              <a:gd name="T30" fmla="*/ 128 w 1110"/>
              <a:gd name="T31" fmla="*/ 68 h 1194"/>
              <a:gd name="T32" fmla="*/ 64 w 1110"/>
              <a:gd name="T33" fmla="*/ 61 h 1194"/>
              <a:gd name="T34" fmla="*/ 0 w 1110"/>
              <a:gd name="T35" fmla="*/ 54 h 1194"/>
              <a:gd name="T36" fmla="*/ 2 w 1110"/>
              <a:gd name="T37" fmla="*/ 7 h 1194"/>
              <a:gd name="T38" fmla="*/ 31 w 1110"/>
              <a:gd name="T39" fmla="*/ 4 h 1194"/>
              <a:gd name="T40" fmla="*/ 85 w 1110"/>
              <a:gd name="T41" fmla="*/ 0 h 1194"/>
              <a:gd name="T42" fmla="*/ 100 w 1110"/>
              <a:gd name="T43" fmla="*/ 0 h 1194"/>
              <a:gd name="T44" fmla="*/ 632 w 1110"/>
              <a:gd name="T45" fmla="*/ 311 h 1194"/>
              <a:gd name="T46" fmla="*/ 844 w 1110"/>
              <a:gd name="T47" fmla="*/ 748 h 1194"/>
              <a:gd name="T48" fmla="*/ 891 w 1110"/>
              <a:gd name="T49" fmla="*/ 937 h 1194"/>
              <a:gd name="T50" fmla="*/ 901 w 1110"/>
              <a:gd name="T51" fmla="*/ 982 h 1194"/>
              <a:gd name="T52" fmla="*/ 924 w 1110"/>
              <a:gd name="T53" fmla="*/ 947 h 1194"/>
              <a:gd name="T54" fmla="*/ 1027 w 1110"/>
              <a:gd name="T55" fmla="*/ 827 h 1194"/>
              <a:gd name="T56" fmla="*/ 1061 w 1110"/>
              <a:gd name="T57" fmla="*/ 814 h 1194"/>
              <a:gd name="T58" fmla="*/ 1068 w 1110"/>
              <a:gd name="T59" fmla="*/ 813 h 1194"/>
              <a:gd name="T60" fmla="*/ 1110 w 1110"/>
              <a:gd name="T61" fmla="*/ 804 h 1194"/>
              <a:gd name="T62" fmla="*/ 1095 w 1110"/>
              <a:gd name="T63" fmla="*/ 845 h 1194"/>
              <a:gd name="T64" fmla="*/ 1093 w 1110"/>
              <a:gd name="T65" fmla="*/ 852 h 1194"/>
              <a:gd name="T66" fmla="*/ 1076 w 1110"/>
              <a:gd name="T67" fmla="*/ 882 h 1194"/>
              <a:gd name="T68" fmla="*/ 920 w 1110"/>
              <a:gd name="T69" fmla="*/ 1085 h 1194"/>
              <a:gd name="T70" fmla="*/ 918 w 1110"/>
              <a:gd name="T71" fmla="*/ 1102 h 1194"/>
              <a:gd name="T72" fmla="*/ 917 w 1110"/>
              <a:gd name="T73" fmla="*/ 1120 h 1194"/>
              <a:gd name="T74" fmla="*/ 910 w 1110"/>
              <a:gd name="T75" fmla="*/ 1158 h 1194"/>
              <a:gd name="T76" fmla="*/ 907 w 1110"/>
              <a:gd name="T77" fmla="*/ 1173 h 1194"/>
              <a:gd name="T78" fmla="*/ 904 w 1110"/>
              <a:gd name="T79" fmla="*/ 1191 h 1194"/>
              <a:gd name="T80" fmla="*/ 885 w 1110"/>
              <a:gd name="T81" fmla="*/ 1192 h 1194"/>
              <a:gd name="T82" fmla="*/ 876 w 1110"/>
              <a:gd name="T83" fmla="*/ 1193 h 1194"/>
              <a:gd name="T84" fmla="*/ 863 w 1110"/>
              <a:gd name="T85" fmla="*/ 1194 h 1194"/>
              <a:gd name="T86" fmla="*/ 721 w 1110"/>
              <a:gd name="T87" fmla="*/ 556 h 1194"/>
              <a:gd name="T88" fmla="*/ 838 w 1110"/>
              <a:gd name="T89" fmla="*/ 919 h 1194"/>
              <a:gd name="T90" fmla="*/ 798 w 1110"/>
              <a:gd name="T91" fmla="*/ 762 h 1194"/>
              <a:gd name="T92" fmla="*/ 721 w 1110"/>
              <a:gd name="T93" fmla="*/ 556 h 11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1110" h="1194">
                <a:moveTo>
                  <a:pt x="863" y="1194"/>
                </a:moveTo>
                <a:cubicBezTo>
                  <a:pt x="855" y="1186"/>
                  <a:pt x="855" y="1186"/>
                  <a:pt x="855" y="1186"/>
                </a:cubicBezTo>
                <a:cubicBezTo>
                  <a:pt x="848" y="1177"/>
                  <a:pt x="840" y="1169"/>
                  <a:pt x="832" y="1161"/>
                </a:cubicBezTo>
                <a:cubicBezTo>
                  <a:pt x="816" y="1143"/>
                  <a:pt x="800" y="1126"/>
                  <a:pt x="783" y="1109"/>
                </a:cubicBezTo>
                <a:cubicBezTo>
                  <a:pt x="684" y="1010"/>
                  <a:pt x="590" y="950"/>
                  <a:pt x="486" y="921"/>
                </a:cubicBezTo>
                <a:cubicBezTo>
                  <a:pt x="483" y="920"/>
                  <a:pt x="481" y="919"/>
                  <a:pt x="480" y="918"/>
                </a:cubicBezTo>
                <a:cubicBezTo>
                  <a:pt x="478" y="918"/>
                  <a:pt x="475" y="917"/>
                  <a:pt x="472" y="916"/>
                </a:cubicBezTo>
                <a:cubicBezTo>
                  <a:pt x="462" y="913"/>
                  <a:pt x="446" y="909"/>
                  <a:pt x="438" y="894"/>
                </a:cubicBezTo>
                <a:cubicBezTo>
                  <a:pt x="435" y="888"/>
                  <a:pt x="432" y="877"/>
                  <a:pt x="436" y="863"/>
                </a:cubicBezTo>
                <a:cubicBezTo>
                  <a:pt x="442" y="845"/>
                  <a:pt x="455" y="835"/>
                  <a:pt x="472" y="835"/>
                </a:cubicBezTo>
                <a:cubicBezTo>
                  <a:pt x="483" y="835"/>
                  <a:pt x="493" y="839"/>
                  <a:pt x="500" y="842"/>
                </a:cubicBezTo>
                <a:cubicBezTo>
                  <a:pt x="503" y="844"/>
                  <a:pt x="505" y="845"/>
                  <a:pt x="507" y="845"/>
                </a:cubicBezTo>
                <a:cubicBezTo>
                  <a:pt x="623" y="883"/>
                  <a:pt x="725" y="952"/>
                  <a:pt x="824" y="1060"/>
                </a:cubicBezTo>
                <a:cubicBezTo>
                  <a:pt x="780" y="881"/>
                  <a:pt x="737" y="719"/>
                  <a:pt x="672" y="564"/>
                </a:cubicBezTo>
                <a:cubicBezTo>
                  <a:pt x="619" y="436"/>
                  <a:pt x="543" y="322"/>
                  <a:pt x="447" y="225"/>
                </a:cubicBezTo>
                <a:cubicBezTo>
                  <a:pt x="365" y="142"/>
                  <a:pt x="261" y="91"/>
                  <a:pt x="128" y="68"/>
                </a:cubicBezTo>
                <a:cubicBezTo>
                  <a:pt x="107" y="64"/>
                  <a:pt x="86" y="63"/>
                  <a:pt x="64" y="61"/>
                </a:cubicBezTo>
                <a:cubicBezTo>
                  <a:pt x="43" y="59"/>
                  <a:pt x="22" y="58"/>
                  <a:pt x="0" y="54"/>
                </a:cubicBezTo>
                <a:cubicBezTo>
                  <a:pt x="2" y="7"/>
                  <a:pt x="2" y="7"/>
                  <a:pt x="2" y="7"/>
                </a:cubicBezTo>
                <a:cubicBezTo>
                  <a:pt x="12" y="6"/>
                  <a:pt x="21" y="5"/>
                  <a:pt x="31" y="4"/>
                </a:cubicBezTo>
                <a:cubicBezTo>
                  <a:pt x="49" y="2"/>
                  <a:pt x="67" y="0"/>
                  <a:pt x="85" y="0"/>
                </a:cubicBezTo>
                <a:cubicBezTo>
                  <a:pt x="90" y="0"/>
                  <a:pt x="95" y="0"/>
                  <a:pt x="100" y="0"/>
                </a:cubicBezTo>
                <a:cubicBezTo>
                  <a:pt x="314" y="15"/>
                  <a:pt x="488" y="117"/>
                  <a:pt x="632" y="311"/>
                </a:cubicBezTo>
                <a:cubicBezTo>
                  <a:pt x="724" y="435"/>
                  <a:pt x="793" y="578"/>
                  <a:pt x="844" y="748"/>
                </a:cubicBezTo>
                <a:cubicBezTo>
                  <a:pt x="863" y="810"/>
                  <a:pt x="877" y="875"/>
                  <a:pt x="891" y="937"/>
                </a:cubicBezTo>
                <a:cubicBezTo>
                  <a:pt x="894" y="952"/>
                  <a:pt x="898" y="967"/>
                  <a:pt x="901" y="982"/>
                </a:cubicBezTo>
                <a:cubicBezTo>
                  <a:pt x="908" y="970"/>
                  <a:pt x="915" y="958"/>
                  <a:pt x="924" y="947"/>
                </a:cubicBezTo>
                <a:cubicBezTo>
                  <a:pt x="956" y="905"/>
                  <a:pt x="992" y="865"/>
                  <a:pt x="1027" y="827"/>
                </a:cubicBezTo>
                <a:cubicBezTo>
                  <a:pt x="1037" y="816"/>
                  <a:pt x="1051" y="815"/>
                  <a:pt x="1061" y="814"/>
                </a:cubicBezTo>
                <a:cubicBezTo>
                  <a:pt x="1063" y="814"/>
                  <a:pt x="1066" y="814"/>
                  <a:pt x="1068" y="813"/>
                </a:cubicBezTo>
                <a:cubicBezTo>
                  <a:pt x="1110" y="804"/>
                  <a:pt x="1110" y="804"/>
                  <a:pt x="1110" y="804"/>
                </a:cubicBezTo>
                <a:cubicBezTo>
                  <a:pt x="1095" y="845"/>
                  <a:pt x="1095" y="845"/>
                  <a:pt x="1095" y="845"/>
                </a:cubicBezTo>
                <a:cubicBezTo>
                  <a:pt x="1095" y="847"/>
                  <a:pt x="1094" y="849"/>
                  <a:pt x="1093" y="852"/>
                </a:cubicBezTo>
                <a:cubicBezTo>
                  <a:pt x="1091" y="861"/>
                  <a:pt x="1088" y="874"/>
                  <a:pt x="1076" y="882"/>
                </a:cubicBezTo>
                <a:cubicBezTo>
                  <a:pt x="1006" y="931"/>
                  <a:pt x="964" y="1003"/>
                  <a:pt x="920" y="1085"/>
                </a:cubicBezTo>
                <a:cubicBezTo>
                  <a:pt x="918" y="1088"/>
                  <a:pt x="918" y="1096"/>
                  <a:pt x="918" y="1102"/>
                </a:cubicBezTo>
                <a:cubicBezTo>
                  <a:pt x="918" y="1107"/>
                  <a:pt x="918" y="1114"/>
                  <a:pt x="917" y="1120"/>
                </a:cubicBezTo>
                <a:cubicBezTo>
                  <a:pt x="915" y="1133"/>
                  <a:pt x="912" y="1146"/>
                  <a:pt x="910" y="1158"/>
                </a:cubicBezTo>
                <a:cubicBezTo>
                  <a:pt x="909" y="1163"/>
                  <a:pt x="908" y="1168"/>
                  <a:pt x="907" y="1173"/>
                </a:cubicBezTo>
                <a:cubicBezTo>
                  <a:pt x="904" y="1191"/>
                  <a:pt x="904" y="1191"/>
                  <a:pt x="904" y="1191"/>
                </a:cubicBezTo>
                <a:cubicBezTo>
                  <a:pt x="885" y="1192"/>
                  <a:pt x="885" y="1192"/>
                  <a:pt x="885" y="1192"/>
                </a:cubicBezTo>
                <a:cubicBezTo>
                  <a:pt x="882" y="1192"/>
                  <a:pt x="879" y="1193"/>
                  <a:pt x="876" y="1193"/>
                </a:cubicBezTo>
                <a:lnTo>
                  <a:pt x="863" y="1194"/>
                </a:lnTo>
                <a:close/>
                <a:moveTo>
                  <a:pt x="721" y="556"/>
                </a:moveTo>
                <a:cubicBezTo>
                  <a:pt x="769" y="672"/>
                  <a:pt x="805" y="792"/>
                  <a:pt x="838" y="919"/>
                </a:cubicBezTo>
                <a:cubicBezTo>
                  <a:pt x="826" y="867"/>
                  <a:pt x="814" y="813"/>
                  <a:pt x="798" y="762"/>
                </a:cubicBezTo>
                <a:cubicBezTo>
                  <a:pt x="776" y="688"/>
                  <a:pt x="750" y="620"/>
                  <a:pt x="721" y="55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24" name="TextBox 23"/>
          <p:cNvSpPr txBox="1"/>
          <p:nvPr/>
        </p:nvSpPr>
        <p:spPr>
          <a:xfrm>
            <a:off x="11292690" y="3238394"/>
            <a:ext cx="8498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 dirty="0" smtClean="0">
                <a:solidFill>
                  <a:schemeClr val="bg1">
                    <a:lumMod val="65000"/>
                  </a:schemeClr>
                </a:solidFill>
              </a:rPr>
              <a:t>Senior ADM level</a:t>
            </a:r>
            <a:endParaRPr lang="en-CA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1265368" y="4033244"/>
            <a:ext cx="6974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 dirty="0" smtClean="0">
                <a:solidFill>
                  <a:schemeClr val="bg1">
                    <a:lumMod val="65000"/>
                  </a:schemeClr>
                </a:solidFill>
              </a:rPr>
              <a:t>ADM level</a:t>
            </a:r>
            <a:endParaRPr lang="en-CA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022321" y="4982714"/>
            <a:ext cx="4027803" cy="441789"/>
          </a:xfrm>
        </p:spPr>
        <p:txBody>
          <a:bodyPr>
            <a:normAutofit/>
          </a:bodyPr>
          <a:lstStyle/>
          <a:p>
            <a:r>
              <a:rPr lang="en-US" sz="1800" dirty="0" smtClean="0"/>
              <a:t>Example of Sponsorship diagram</a:t>
            </a:r>
            <a:endParaRPr lang="en-CA" sz="1800" dirty="0"/>
          </a:p>
        </p:txBody>
      </p:sp>
      <p:sp>
        <p:nvSpPr>
          <p:cNvPr id="10" name="Rectangle 9"/>
          <p:cNvSpPr/>
          <p:nvPr/>
        </p:nvSpPr>
        <p:spPr>
          <a:xfrm>
            <a:off x="613485" y="5537126"/>
            <a:ext cx="10901619" cy="646331"/>
          </a:xfrm>
          <a:prstGeom prst="rect">
            <a:avLst/>
          </a:prstGeom>
          <a:solidFill>
            <a:srgbClr val="FF9999"/>
          </a:solidFill>
        </p:spPr>
        <p:txBody>
          <a:bodyPr wrap="square">
            <a:spAutoFit/>
          </a:bodyPr>
          <a:lstStyle/>
          <a:p>
            <a:r>
              <a:rPr lang="en-US" b="1" dirty="0" smtClean="0"/>
              <a:t>NOTE: </a:t>
            </a:r>
            <a:r>
              <a:rPr lang="en-US" dirty="0" smtClean="0"/>
              <a:t>This information you gather as part of this process is </a:t>
            </a:r>
            <a:r>
              <a:rPr lang="en-US" b="1" u="sng" dirty="0" smtClean="0"/>
              <a:t>not intended to be shared with your organization</a:t>
            </a:r>
            <a:r>
              <a:rPr lang="en-US" dirty="0" smtClean="0"/>
              <a:t>.</a:t>
            </a:r>
            <a:r>
              <a:rPr lang="en-US" dirty="0"/>
              <a:t> </a:t>
            </a:r>
            <a:r>
              <a:rPr lang="en-CA" dirty="0" smtClean="0"/>
              <a:t>Maintain confidentiality: avoid </a:t>
            </a:r>
            <a:r>
              <a:rPr lang="en-CA" dirty="0"/>
              <a:t>embarrassing or surprising a </a:t>
            </a:r>
            <a:r>
              <a:rPr lang="en-CA" dirty="0" smtClean="0"/>
              <a:t>senior leader—use </a:t>
            </a:r>
            <a:r>
              <a:rPr lang="en-CA" dirty="0"/>
              <a:t>this diagram with care</a:t>
            </a:r>
            <a:r>
              <a:rPr lang="en-CA" dirty="0" smtClean="0"/>
              <a:t>!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585938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4"/>
          <p:cNvSpPr txBox="1">
            <a:spLocks/>
          </p:cNvSpPr>
          <p:nvPr/>
        </p:nvSpPr>
        <p:spPr>
          <a:xfrm>
            <a:off x="661159" y="703261"/>
            <a:ext cx="11006345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dirty="0" smtClean="0">
                <a:solidFill>
                  <a:schemeClr val="accent4"/>
                </a:solidFill>
              </a:rPr>
              <a:t>Analyze… </a:t>
            </a:r>
            <a:r>
              <a:rPr lang="en-US" dirty="0" smtClean="0"/>
              <a:t>and create the Sponsorship diagram (2)</a:t>
            </a:r>
            <a:endParaRPr lang="en-CA" dirty="0"/>
          </a:p>
        </p:txBody>
      </p:sp>
      <p:sp>
        <p:nvSpPr>
          <p:cNvPr id="17" name="Freeform 16" descr="AngleDoubleRight Icon"/>
          <p:cNvSpPr>
            <a:spLocks noEditPoints="1"/>
          </p:cNvSpPr>
          <p:nvPr/>
        </p:nvSpPr>
        <p:spPr bwMode="auto">
          <a:xfrm>
            <a:off x="613485" y="1553609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graphicFrame>
        <p:nvGraphicFramePr>
          <p:cNvPr id="19" name="Table 18" title="gray squar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3178776"/>
              </p:ext>
            </p:extLst>
          </p:nvPr>
        </p:nvGraphicFramePr>
        <p:xfrm>
          <a:off x="1260839" y="1529812"/>
          <a:ext cx="4414685" cy="310896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14685"/>
              </a:tblGrid>
              <a:tr h="562888">
                <a:tc>
                  <a:txBody>
                    <a:bodyPr/>
                    <a:lstStyle/>
                    <a:p>
                      <a:pPr marL="342900" indent="-342900">
                        <a:buFont typeface="+mj-lt"/>
                        <a:buAutoNum type="arabicPeriod" startAt="3"/>
                        <a:defRPr/>
                      </a:pPr>
                      <a:r>
                        <a:rPr lang="en-US" sz="1800" baseline="0" dirty="0" smtClean="0"/>
                        <a:t>Next, show the </a:t>
                      </a:r>
                      <a:r>
                        <a:rPr lang="en-US" sz="1800" b="1" baseline="0" dirty="0" smtClean="0"/>
                        <a:t>relationship</a:t>
                      </a:r>
                      <a:r>
                        <a:rPr lang="en-US" sz="1800" baseline="0" dirty="0" smtClean="0"/>
                        <a:t> between the sponsor and any champions at a higher or same level, and identify the individual they all report to. </a:t>
                      </a:r>
                      <a:r>
                        <a:rPr lang="en-US" sz="1800" i="0" u="sng" baseline="0" dirty="0" smtClean="0"/>
                        <a:t>Note</a:t>
                      </a:r>
                      <a:r>
                        <a:rPr lang="en-US" sz="1800" i="0" u="none" baseline="0" dirty="0" smtClean="0"/>
                        <a:t>:</a:t>
                      </a:r>
                      <a:r>
                        <a:rPr lang="en-US" sz="1800" i="0" baseline="0" dirty="0" smtClean="0"/>
                        <a:t> You should complete the competency assessment for that individual (in this example, the Deputy Minister) </a:t>
                      </a:r>
                      <a:r>
                        <a:rPr lang="en-US" sz="1800" b="0" i="0" baseline="0" dirty="0" smtClean="0"/>
                        <a:t>even if they are not directly impacted by the change; in certain cases, the sponsor may need their assistance with addressing resistance from higher level champions.</a:t>
                      </a:r>
                      <a:endParaRPr lang="en-CA" sz="1800" i="0" dirty="0" smtClean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0" name="TextBox 19"/>
          <p:cNvSpPr txBox="1"/>
          <p:nvPr/>
        </p:nvSpPr>
        <p:spPr>
          <a:xfrm>
            <a:off x="6334738" y="1704874"/>
            <a:ext cx="219761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600" b="1" dirty="0" smtClean="0">
                <a:solidFill>
                  <a:srgbClr val="FF0000"/>
                </a:solidFill>
              </a:rPr>
              <a:t>Relationship</a:t>
            </a:r>
            <a:r>
              <a:rPr lang="en-CA" sz="1600" dirty="0" smtClean="0"/>
              <a:t> </a:t>
            </a:r>
            <a:r>
              <a:rPr lang="en-CA" sz="1600" dirty="0"/>
              <a:t>between the </a:t>
            </a:r>
            <a:r>
              <a:rPr lang="en-CA" sz="1600" dirty="0" smtClean="0"/>
              <a:t>sponsor </a:t>
            </a:r>
            <a:r>
              <a:rPr lang="en-CA" sz="1600" dirty="0"/>
              <a:t>and </a:t>
            </a:r>
            <a:r>
              <a:rPr lang="en-CA" sz="1600" dirty="0" smtClean="0"/>
              <a:t>highest level champion</a:t>
            </a:r>
            <a:endParaRPr lang="en-CA" sz="1600" dirty="0"/>
          </a:p>
        </p:txBody>
      </p:sp>
      <p:graphicFrame>
        <p:nvGraphicFramePr>
          <p:cNvPr id="12" name="Diagram 11" title="sponsorship relationship diagram"/>
          <p:cNvGraphicFramePr/>
          <p:nvPr>
            <p:extLst>
              <p:ext uri="{D42A27DB-BD31-4B8C-83A1-F6EECF244321}">
                <p14:modId xmlns:p14="http://schemas.microsoft.com/office/powerpoint/2010/main" val="3409196489"/>
              </p:ext>
            </p:extLst>
          </p:nvPr>
        </p:nvGraphicFramePr>
        <p:xfrm>
          <a:off x="5900656" y="1529813"/>
          <a:ext cx="5474226" cy="38788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1" name="Freeform 20" descr="gray arrow pointing to the diagram and the text: Relationship between the sponsor and highest level champion." title="gray arrow "/>
          <p:cNvSpPr>
            <a:spLocks/>
          </p:cNvSpPr>
          <p:nvPr/>
        </p:nvSpPr>
        <p:spPr bwMode="auto">
          <a:xfrm rot="17798918">
            <a:off x="7834722" y="2269413"/>
            <a:ext cx="553268" cy="735311"/>
          </a:xfrm>
          <a:custGeom>
            <a:avLst/>
            <a:gdLst>
              <a:gd name="T0" fmla="*/ 492 w 600"/>
              <a:gd name="T1" fmla="*/ 0 h 1115"/>
              <a:gd name="T2" fmla="*/ 489 w 600"/>
              <a:gd name="T3" fmla="*/ 169 h 1115"/>
              <a:gd name="T4" fmla="*/ 452 w 600"/>
              <a:gd name="T5" fmla="*/ 254 h 1115"/>
              <a:gd name="T6" fmla="*/ 446 w 600"/>
              <a:gd name="T7" fmla="*/ 265 h 1115"/>
              <a:gd name="T8" fmla="*/ 143 w 600"/>
              <a:gd name="T9" fmla="*/ 930 h 1115"/>
              <a:gd name="T10" fmla="*/ 210 w 600"/>
              <a:gd name="T11" fmla="*/ 874 h 1115"/>
              <a:gd name="T12" fmla="*/ 364 w 600"/>
              <a:gd name="T13" fmla="*/ 769 h 1115"/>
              <a:gd name="T14" fmla="*/ 390 w 600"/>
              <a:gd name="T15" fmla="*/ 807 h 1115"/>
              <a:gd name="T16" fmla="*/ 387 w 600"/>
              <a:gd name="T17" fmla="*/ 813 h 1115"/>
              <a:gd name="T18" fmla="*/ 256 w 600"/>
              <a:gd name="T19" fmla="*/ 915 h 1115"/>
              <a:gd name="T20" fmla="*/ 259 w 600"/>
              <a:gd name="T21" fmla="*/ 924 h 1115"/>
              <a:gd name="T22" fmla="*/ 247 w 600"/>
              <a:gd name="T23" fmla="*/ 941 h 1115"/>
              <a:gd name="T24" fmla="*/ 207 w 600"/>
              <a:gd name="T25" fmla="*/ 979 h 1115"/>
              <a:gd name="T26" fmla="*/ 58 w 600"/>
              <a:gd name="T27" fmla="*/ 1108 h 1115"/>
              <a:gd name="T28" fmla="*/ 0 w 600"/>
              <a:gd name="T29" fmla="*/ 1081 h 1115"/>
              <a:gd name="T30" fmla="*/ 41 w 600"/>
              <a:gd name="T31" fmla="*/ 1038 h 1115"/>
              <a:gd name="T32" fmla="*/ 23 w 600"/>
              <a:gd name="T33" fmla="*/ 927 h 1115"/>
              <a:gd name="T34" fmla="*/ 35 w 600"/>
              <a:gd name="T35" fmla="*/ 909 h 1115"/>
              <a:gd name="T36" fmla="*/ 26 w 600"/>
              <a:gd name="T37" fmla="*/ 667 h 1115"/>
              <a:gd name="T38" fmla="*/ 90 w 600"/>
              <a:gd name="T39" fmla="*/ 909 h 1115"/>
              <a:gd name="T40" fmla="*/ 145 w 600"/>
              <a:gd name="T41" fmla="*/ 799 h 1115"/>
              <a:gd name="T42" fmla="*/ 169 w 600"/>
              <a:gd name="T43" fmla="*/ 772 h 1115"/>
              <a:gd name="T44" fmla="*/ 180 w 600"/>
              <a:gd name="T45" fmla="*/ 737 h 1115"/>
              <a:gd name="T46" fmla="*/ 204 w 600"/>
              <a:gd name="T47" fmla="*/ 702 h 1115"/>
              <a:gd name="T48" fmla="*/ 210 w 600"/>
              <a:gd name="T49" fmla="*/ 670 h 1115"/>
              <a:gd name="T50" fmla="*/ 224 w 600"/>
              <a:gd name="T51" fmla="*/ 665 h 1115"/>
              <a:gd name="T52" fmla="*/ 215 w 600"/>
              <a:gd name="T53" fmla="*/ 665 h 1115"/>
              <a:gd name="T54" fmla="*/ 230 w 600"/>
              <a:gd name="T55" fmla="*/ 647 h 1115"/>
              <a:gd name="T56" fmla="*/ 230 w 600"/>
              <a:gd name="T57" fmla="*/ 627 h 1115"/>
              <a:gd name="T58" fmla="*/ 239 w 600"/>
              <a:gd name="T59" fmla="*/ 627 h 1115"/>
              <a:gd name="T60" fmla="*/ 236 w 600"/>
              <a:gd name="T61" fmla="*/ 615 h 1115"/>
              <a:gd name="T62" fmla="*/ 239 w 600"/>
              <a:gd name="T63" fmla="*/ 621 h 1115"/>
              <a:gd name="T64" fmla="*/ 242 w 600"/>
              <a:gd name="T65" fmla="*/ 597 h 1115"/>
              <a:gd name="T66" fmla="*/ 259 w 600"/>
              <a:gd name="T67" fmla="*/ 577 h 1115"/>
              <a:gd name="T68" fmla="*/ 262 w 600"/>
              <a:gd name="T69" fmla="*/ 554 h 1115"/>
              <a:gd name="T70" fmla="*/ 277 w 600"/>
              <a:gd name="T71" fmla="*/ 536 h 1115"/>
              <a:gd name="T72" fmla="*/ 282 w 600"/>
              <a:gd name="T73" fmla="*/ 525 h 1115"/>
              <a:gd name="T74" fmla="*/ 303 w 600"/>
              <a:gd name="T75" fmla="*/ 472 h 1115"/>
              <a:gd name="T76" fmla="*/ 320 w 600"/>
              <a:gd name="T77" fmla="*/ 449 h 1115"/>
              <a:gd name="T78" fmla="*/ 352 w 600"/>
              <a:gd name="T79" fmla="*/ 350 h 1115"/>
              <a:gd name="T80" fmla="*/ 370 w 600"/>
              <a:gd name="T81" fmla="*/ 332 h 1115"/>
              <a:gd name="T82" fmla="*/ 385 w 600"/>
              <a:gd name="T83" fmla="*/ 283 h 1115"/>
              <a:gd name="T84" fmla="*/ 472 w 600"/>
              <a:gd name="T85" fmla="*/ 67 h 1115"/>
              <a:gd name="T86" fmla="*/ 492 w 600"/>
              <a:gd name="T87" fmla="*/ 0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0" h="1115">
                <a:moveTo>
                  <a:pt x="492" y="0"/>
                </a:moveTo>
                <a:cubicBezTo>
                  <a:pt x="600" y="3"/>
                  <a:pt x="508" y="123"/>
                  <a:pt x="489" y="169"/>
                </a:cubicBezTo>
                <a:cubicBezTo>
                  <a:pt x="478" y="199"/>
                  <a:pt x="468" y="228"/>
                  <a:pt x="452" y="254"/>
                </a:cubicBezTo>
                <a:cubicBezTo>
                  <a:pt x="451" y="255"/>
                  <a:pt x="446" y="264"/>
                  <a:pt x="446" y="265"/>
                </a:cubicBezTo>
                <a:cubicBezTo>
                  <a:pt x="360" y="478"/>
                  <a:pt x="239" y="724"/>
                  <a:pt x="143" y="930"/>
                </a:cubicBezTo>
                <a:cubicBezTo>
                  <a:pt x="171" y="911"/>
                  <a:pt x="177" y="886"/>
                  <a:pt x="210" y="874"/>
                </a:cubicBezTo>
                <a:cubicBezTo>
                  <a:pt x="251" y="829"/>
                  <a:pt x="291" y="783"/>
                  <a:pt x="364" y="769"/>
                </a:cubicBezTo>
                <a:cubicBezTo>
                  <a:pt x="376" y="779"/>
                  <a:pt x="394" y="782"/>
                  <a:pt x="390" y="807"/>
                </a:cubicBezTo>
                <a:cubicBezTo>
                  <a:pt x="388" y="808"/>
                  <a:pt x="388" y="811"/>
                  <a:pt x="387" y="813"/>
                </a:cubicBezTo>
                <a:cubicBezTo>
                  <a:pt x="335" y="837"/>
                  <a:pt x="285" y="878"/>
                  <a:pt x="256" y="915"/>
                </a:cubicBezTo>
                <a:cubicBezTo>
                  <a:pt x="250" y="914"/>
                  <a:pt x="257" y="924"/>
                  <a:pt x="259" y="924"/>
                </a:cubicBezTo>
                <a:cubicBezTo>
                  <a:pt x="258" y="931"/>
                  <a:pt x="241" y="937"/>
                  <a:pt x="247" y="941"/>
                </a:cubicBezTo>
                <a:cubicBezTo>
                  <a:pt x="238" y="947"/>
                  <a:pt x="207" y="949"/>
                  <a:pt x="207" y="979"/>
                </a:cubicBezTo>
                <a:cubicBezTo>
                  <a:pt x="162" y="991"/>
                  <a:pt x="106" y="1089"/>
                  <a:pt x="58" y="1108"/>
                </a:cubicBezTo>
                <a:cubicBezTo>
                  <a:pt x="39" y="1115"/>
                  <a:pt x="5" y="1104"/>
                  <a:pt x="0" y="1081"/>
                </a:cubicBezTo>
                <a:cubicBezTo>
                  <a:pt x="3" y="1070"/>
                  <a:pt x="43" y="1048"/>
                  <a:pt x="41" y="1038"/>
                </a:cubicBezTo>
                <a:cubicBezTo>
                  <a:pt x="32" y="1008"/>
                  <a:pt x="42" y="944"/>
                  <a:pt x="23" y="927"/>
                </a:cubicBezTo>
                <a:cubicBezTo>
                  <a:pt x="25" y="919"/>
                  <a:pt x="31" y="916"/>
                  <a:pt x="35" y="909"/>
                </a:cubicBezTo>
                <a:cubicBezTo>
                  <a:pt x="34" y="840"/>
                  <a:pt x="38" y="733"/>
                  <a:pt x="26" y="667"/>
                </a:cubicBezTo>
                <a:cubicBezTo>
                  <a:pt x="139" y="635"/>
                  <a:pt x="82" y="842"/>
                  <a:pt x="90" y="909"/>
                </a:cubicBezTo>
                <a:cubicBezTo>
                  <a:pt x="114" y="885"/>
                  <a:pt x="134" y="835"/>
                  <a:pt x="145" y="799"/>
                </a:cubicBezTo>
                <a:cubicBezTo>
                  <a:pt x="157" y="810"/>
                  <a:pt x="148" y="773"/>
                  <a:pt x="169" y="772"/>
                </a:cubicBezTo>
                <a:cubicBezTo>
                  <a:pt x="158" y="762"/>
                  <a:pt x="177" y="744"/>
                  <a:pt x="180" y="737"/>
                </a:cubicBezTo>
                <a:cubicBezTo>
                  <a:pt x="187" y="725"/>
                  <a:pt x="189" y="701"/>
                  <a:pt x="204" y="702"/>
                </a:cubicBezTo>
                <a:cubicBezTo>
                  <a:pt x="200" y="686"/>
                  <a:pt x="218" y="673"/>
                  <a:pt x="210" y="670"/>
                </a:cubicBezTo>
                <a:cubicBezTo>
                  <a:pt x="213" y="656"/>
                  <a:pt x="221" y="679"/>
                  <a:pt x="224" y="665"/>
                </a:cubicBezTo>
                <a:cubicBezTo>
                  <a:pt x="221" y="656"/>
                  <a:pt x="221" y="674"/>
                  <a:pt x="215" y="665"/>
                </a:cubicBezTo>
                <a:cubicBezTo>
                  <a:pt x="220" y="647"/>
                  <a:pt x="218" y="652"/>
                  <a:pt x="230" y="647"/>
                </a:cubicBezTo>
                <a:cubicBezTo>
                  <a:pt x="227" y="647"/>
                  <a:pt x="222" y="633"/>
                  <a:pt x="230" y="627"/>
                </a:cubicBezTo>
                <a:cubicBezTo>
                  <a:pt x="231" y="626"/>
                  <a:pt x="238" y="628"/>
                  <a:pt x="239" y="627"/>
                </a:cubicBezTo>
                <a:cubicBezTo>
                  <a:pt x="241" y="622"/>
                  <a:pt x="233" y="620"/>
                  <a:pt x="236" y="615"/>
                </a:cubicBezTo>
                <a:cubicBezTo>
                  <a:pt x="237" y="613"/>
                  <a:pt x="240" y="620"/>
                  <a:pt x="239" y="621"/>
                </a:cubicBezTo>
                <a:cubicBezTo>
                  <a:pt x="246" y="618"/>
                  <a:pt x="238" y="608"/>
                  <a:pt x="242" y="597"/>
                </a:cubicBezTo>
                <a:cubicBezTo>
                  <a:pt x="244" y="591"/>
                  <a:pt x="254" y="586"/>
                  <a:pt x="259" y="577"/>
                </a:cubicBezTo>
                <a:cubicBezTo>
                  <a:pt x="262" y="571"/>
                  <a:pt x="260" y="559"/>
                  <a:pt x="262" y="554"/>
                </a:cubicBezTo>
                <a:cubicBezTo>
                  <a:pt x="266" y="543"/>
                  <a:pt x="277" y="538"/>
                  <a:pt x="277" y="536"/>
                </a:cubicBezTo>
                <a:cubicBezTo>
                  <a:pt x="277" y="534"/>
                  <a:pt x="271" y="521"/>
                  <a:pt x="282" y="525"/>
                </a:cubicBezTo>
                <a:cubicBezTo>
                  <a:pt x="282" y="508"/>
                  <a:pt x="306" y="493"/>
                  <a:pt x="303" y="472"/>
                </a:cubicBezTo>
                <a:cubicBezTo>
                  <a:pt x="306" y="462"/>
                  <a:pt x="314" y="456"/>
                  <a:pt x="320" y="449"/>
                </a:cubicBezTo>
                <a:cubicBezTo>
                  <a:pt x="332" y="418"/>
                  <a:pt x="335" y="385"/>
                  <a:pt x="352" y="350"/>
                </a:cubicBezTo>
                <a:cubicBezTo>
                  <a:pt x="350" y="354"/>
                  <a:pt x="368" y="337"/>
                  <a:pt x="370" y="332"/>
                </a:cubicBezTo>
                <a:cubicBezTo>
                  <a:pt x="377" y="318"/>
                  <a:pt x="378" y="298"/>
                  <a:pt x="385" y="283"/>
                </a:cubicBezTo>
                <a:cubicBezTo>
                  <a:pt x="414" y="212"/>
                  <a:pt x="449" y="139"/>
                  <a:pt x="472" y="67"/>
                </a:cubicBezTo>
                <a:cubicBezTo>
                  <a:pt x="479" y="46"/>
                  <a:pt x="488" y="24"/>
                  <a:pt x="492" y="0"/>
                </a:cubicBezTo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24" name="TextBox 23"/>
          <p:cNvSpPr txBox="1"/>
          <p:nvPr/>
        </p:nvSpPr>
        <p:spPr>
          <a:xfrm>
            <a:off x="11292690" y="3238394"/>
            <a:ext cx="8498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 dirty="0" smtClean="0">
                <a:solidFill>
                  <a:schemeClr val="bg1">
                    <a:lumMod val="65000"/>
                  </a:schemeClr>
                </a:solidFill>
              </a:rPr>
              <a:t>Senior ADM level</a:t>
            </a:r>
            <a:endParaRPr lang="en-CA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11265368" y="4033244"/>
            <a:ext cx="6974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1200" b="1" dirty="0" smtClean="0">
                <a:solidFill>
                  <a:schemeClr val="bg1">
                    <a:lumMod val="65000"/>
                  </a:schemeClr>
                </a:solidFill>
              </a:rPr>
              <a:t>ADM level</a:t>
            </a:r>
            <a:endParaRPr lang="en-CA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022321" y="4982714"/>
            <a:ext cx="4027803" cy="441789"/>
          </a:xfrm>
        </p:spPr>
        <p:txBody>
          <a:bodyPr>
            <a:normAutofit/>
          </a:bodyPr>
          <a:lstStyle/>
          <a:p>
            <a:r>
              <a:rPr lang="en-US" sz="1800" dirty="0" smtClean="0"/>
              <a:t>Example of Sponsorship diagram</a:t>
            </a:r>
            <a:endParaRPr lang="en-CA" sz="1800" dirty="0"/>
          </a:p>
        </p:txBody>
      </p:sp>
      <p:sp>
        <p:nvSpPr>
          <p:cNvPr id="22" name="Freeform 21" descr="LightBulb Icon"/>
          <p:cNvSpPr>
            <a:spLocks noEditPoints="1"/>
          </p:cNvSpPr>
          <p:nvPr/>
        </p:nvSpPr>
        <p:spPr bwMode="auto">
          <a:xfrm rot="21258215">
            <a:off x="1952390" y="4774010"/>
            <a:ext cx="492340" cy="736865"/>
          </a:xfrm>
          <a:custGeom>
            <a:avLst/>
            <a:gdLst>
              <a:gd name="T0" fmla="*/ 377 w 448"/>
              <a:gd name="T1" fmla="*/ 53 h 671"/>
              <a:gd name="T2" fmla="*/ 224 w 448"/>
              <a:gd name="T3" fmla="*/ 0 h 671"/>
              <a:gd name="T4" fmla="*/ 71 w 448"/>
              <a:gd name="T5" fmla="*/ 53 h 671"/>
              <a:gd name="T6" fmla="*/ 0 w 448"/>
              <a:gd name="T7" fmla="*/ 196 h 671"/>
              <a:gd name="T8" fmla="*/ 78 w 448"/>
              <a:gd name="T9" fmla="*/ 351 h 671"/>
              <a:gd name="T10" fmla="*/ 119 w 448"/>
              <a:gd name="T11" fmla="*/ 440 h 671"/>
              <a:gd name="T12" fmla="*/ 109 w 448"/>
              <a:gd name="T13" fmla="*/ 503 h 671"/>
              <a:gd name="T14" fmla="*/ 118 w 448"/>
              <a:gd name="T15" fmla="*/ 567 h 671"/>
              <a:gd name="T16" fmla="*/ 126 w 448"/>
              <a:gd name="T17" fmla="*/ 618 h 671"/>
              <a:gd name="T18" fmla="*/ 186 w 448"/>
              <a:gd name="T19" fmla="*/ 660 h 671"/>
              <a:gd name="T20" fmla="*/ 262 w 448"/>
              <a:gd name="T21" fmla="*/ 660 h 671"/>
              <a:gd name="T22" fmla="*/ 322 w 448"/>
              <a:gd name="T23" fmla="*/ 618 h 671"/>
              <a:gd name="T24" fmla="*/ 330 w 448"/>
              <a:gd name="T25" fmla="*/ 567 h 671"/>
              <a:gd name="T26" fmla="*/ 339 w 448"/>
              <a:gd name="T27" fmla="*/ 503 h 671"/>
              <a:gd name="T28" fmla="*/ 329 w 448"/>
              <a:gd name="T29" fmla="*/ 440 h 671"/>
              <a:gd name="T30" fmla="*/ 370 w 448"/>
              <a:gd name="T31" fmla="*/ 351 h 671"/>
              <a:gd name="T32" fmla="*/ 448 w 448"/>
              <a:gd name="T33" fmla="*/ 196 h 671"/>
              <a:gd name="T34" fmla="*/ 362 w 448"/>
              <a:gd name="T35" fmla="*/ 274 h 671"/>
              <a:gd name="T36" fmla="*/ 336 w 448"/>
              <a:gd name="T37" fmla="*/ 303 h 671"/>
              <a:gd name="T38" fmla="*/ 174 w 448"/>
              <a:gd name="T39" fmla="*/ 433 h 671"/>
              <a:gd name="T40" fmla="*/ 99 w 448"/>
              <a:gd name="T41" fmla="*/ 289 h 671"/>
              <a:gd name="T42" fmla="*/ 56 w 448"/>
              <a:gd name="T43" fmla="*/ 196 h 671"/>
              <a:gd name="T44" fmla="*/ 111 w 448"/>
              <a:gd name="T45" fmla="*/ 93 h 671"/>
              <a:gd name="T46" fmla="*/ 224 w 448"/>
              <a:gd name="T47" fmla="*/ 56 h 671"/>
              <a:gd name="T48" fmla="*/ 338 w 448"/>
              <a:gd name="T49" fmla="*/ 93 h 671"/>
              <a:gd name="T50" fmla="*/ 392 w 448"/>
              <a:gd name="T51" fmla="*/ 196 h 671"/>
              <a:gd name="T52" fmla="*/ 306 w 448"/>
              <a:gd name="T53" fmla="*/ 156 h 671"/>
              <a:gd name="T54" fmla="*/ 224 w 448"/>
              <a:gd name="T55" fmla="*/ 126 h 671"/>
              <a:gd name="T56" fmla="*/ 210 w 448"/>
              <a:gd name="T57" fmla="*/ 139 h 671"/>
              <a:gd name="T58" fmla="*/ 224 w 448"/>
              <a:gd name="T59" fmla="*/ 154 h 671"/>
              <a:gd name="T60" fmla="*/ 294 w 448"/>
              <a:gd name="T61" fmla="*/ 196 h 671"/>
              <a:gd name="T62" fmla="*/ 308 w 448"/>
              <a:gd name="T63" fmla="*/ 210 h 671"/>
              <a:gd name="T64" fmla="*/ 322 w 448"/>
              <a:gd name="T65" fmla="*/ 196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48" h="671">
                <a:moveTo>
                  <a:pt x="429" y="115"/>
                </a:moveTo>
                <a:cubicBezTo>
                  <a:pt x="416" y="90"/>
                  <a:pt x="398" y="69"/>
                  <a:pt x="377" y="53"/>
                </a:cubicBezTo>
                <a:cubicBezTo>
                  <a:pt x="356" y="36"/>
                  <a:pt x="332" y="23"/>
                  <a:pt x="306" y="14"/>
                </a:cubicBezTo>
                <a:cubicBezTo>
                  <a:pt x="279" y="4"/>
                  <a:pt x="252" y="0"/>
                  <a:pt x="224" y="0"/>
                </a:cubicBezTo>
                <a:cubicBezTo>
                  <a:pt x="196" y="0"/>
                  <a:pt x="169" y="4"/>
                  <a:pt x="142" y="14"/>
                </a:cubicBezTo>
                <a:cubicBezTo>
                  <a:pt x="116" y="23"/>
                  <a:pt x="92" y="36"/>
                  <a:pt x="71" y="53"/>
                </a:cubicBezTo>
                <a:cubicBezTo>
                  <a:pt x="50" y="69"/>
                  <a:pt x="32" y="90"/>
                  <a:pt x="20" y="115"/>
                </a:cubicBezTo>
                <a:cubicBezTo>
                  <a:pt x="7" y="140"/>
                  <a:pt x="0" y="167"/>
                  <a:pt x="0" y="196"/>
                </a:cubicBezTo>
                <a:cubicBezTo>
                  <a:pt x="0" y="241"/>
                  <a:pt x="15" y="280"/>
                  <a:pt x="45" y="313"/>
                </a:cubicBezTo>
                <a:cubicBezTo>
                  <a:pt x="58" y="327"/>
                  <a:pt x="69" y="340"/>
                  <a:pt x="78" y="351"/>
                </a:cubicBezTo>
                <a:cubicBezTo>
                  <a:pt x="86" y="362"/>
                  <a:pt x="95" y="376"/>
                  <a:pt x="104" y="393"/>
                </a:cubicBezTo>
                <a:cubicBezTo>
                  <a:pt x="112" y="409"/>
                  <a:pt x="117" y="425"/>
                  <a:pt x="119" y="440"/>
                </a:cubicBezTo>
                <a:cubicBezTo>
                  <a:pt x="105" y="448"/>
                  <a:pt x="98" y="460"/>
                  <a:pt x="98" y="475"/>
                </a:cubicBezTo>
                <a:cubicBezTo>
                  <a:pt x="98" y="486"/>
                  <a:pt x="102" y="496"/>
                  <a:pt x="109" y="503"/>
                </a:cubicBezTo>
                <a:cubicBezTo>
                  <a:pt x="102" y="511"/>
                  <a:pt x="98" y="521"/>
                  <a:pt x="98" y="531"/>
                </a:cubicBezTo>
                <a:cubicBezTo>
                  <a:pt x="98" y="547"/>
                  <a:pt x="105" y="558"/>
                  <a:pt x="118" y="567"/>
                </a:cubicBezTo>
                <a:cubicBezTo>
                  <a:pt x="114" y="574"/>
                  <a:pt x="112" y="580"/>
                  <a:pt x="112" y="587"/>
                </a:cubicBezTo>
                <a:cubicBezTo>
                  <a:pt x="112" y="601"/>
                  <a:pt x="117" y="611"/>
                  <a:pt x="126" y="618"/>
                </a:cubicBezTo>
                <a:cubicBezTo>
                  <a:pt x="135" y="626"/>
                  <a:pt x="146" y="629"/>
                  <a:pt x="160" y="629"/>
                </a:cubicBezTo>
                <a:cubicBezTo>
                  <a:pt x="166" y="642"/>
                  <a:pt x="174" y="652"/>
                  <a:pt x="186" y="660"/>
                </a:cubicBezTo>
                <a:cubicBezTo>
                  <a:pt x="198" y="668"/>
                  <a:pt x="210" y="671"/>
                  <a:pt x="224" y="671"/>
                </a:cubicBezTo>
                <a:cubicBezTo>
                  <a:pt x="238" y="671"/>
                  <a:pt x="250" y="668"/>
                  <a:pt x="262" y="660"/>
                </a:cubicBezTo>
                <a:cubicBezTo>
                  <a:pt x="274" y="652"/>
                  <a:pt x="283" y="642"/>
                  <a:pt x="288" y="629"/>
                </a:cubicBezTo>
                <a:cubicBezTo>
                  <a:pt x="302" y="629"/>
                  <a:pt x="313" y="626"/>
                  <a:pt x="322" y="618"/>
                </a:cubicBezTo>
                <a:cubicBezTo>
                  <a:pt x="331" y="611"/>
                  <a:pt x="336" y="601"/>
                  <a:pt x="336" y="587"/>
                </a:cubicBezTo>
                <a:cubicBezTo>
                  <a:pt x="336" y="580"/>
                  <a:pt x="334" y="574"/>
                  <a:pt x="330" y="567"/>
                </a:cubicBezTo>
                <a:cubicBezTo>
                  <a:pt x="343" y="558"/>
                  <a:pt x="350" y="547"/>
                  <a:pt x="350" y="531"/>
                </a:cubicBezTo>
                <a:cubicBezTo>
                  <a:pt x="350" y="521"/>
                  <a:pt x="346" y="511"/>
                  <a:pt x="339" y="503"/>
                </a:cubicBezTo>
                <a:cubicBezTo>
                  <a:pt x="346" y="496"/>
                  <a:pt x="350" y="486"/>
                  <a:pt x="350" y="475"/>
                </a:cubicBezTo>
                <a:cubicBezTo>
                  <a:pt x="350" y="460"/>
                  <a:pt x="343" y="448"/>
                  <a:pt x="329" y="440"/>
                </a:cubicBezTo>
                <a:cubicBezTo>
                  <a:pt x="331" y="425"/>
                  <a:pt x="336" y="409"/>
                  <a:pt x="344" y="393"/>
                </a:cubicBezTo>
                <a:cubicBezTo>
                  <a:pt x="353" y="376"/>
                  <a:pt x="362" y="362"/>
                  <a:pt x="370" y="351"/>
                </a:cubicBezTo>
                <a:cubicBezTo>
                  <a:pt x="379" y="340"/>
                  <a:pt x="390" y="327"/>
                  <a:pt x="403" y="313"/>
                </a:cubicBezTo>
                <a:cubicBezTo>
                  <a:pt x="433" y="280"/>
                  <a:pt x="448" y="241"/>
                  <a:pt x="448" y="196"/>
                </a:cubicBezTo>
                <a:cubicBezTo>
                  <a:pt x="448" y="167"/>
                  <a:pt x="442" y="140"/>
                  <a:pt x="429" y="115"/>
                </a:cubicBezTo>
                <a:close/>
                <a:moveTo>
                  <a:pt x="362" y="274"/>
                </a:moveTo>
                <a:cubicBezTo>
                  <a:pt x="359" y="278"/>
                  <a:pt x="355" y="282"/>
                  <a:pt x="349" y="289"/>
                </a:cubicBezTo>
                <a:cubicBezTo>
                  <a:pt x="343" y="295"/>
                  <a:pt x="338" y="300"/>
                  <a:pt x="336" y="303"/>
                </a:cubicBezTo>
                <a:cubicBezTo>
                  <a:pt x="298" y="348"/>
                  <a:pt x="278" y="391"/>
                  <a:pt x="274" y="433"/>
                </a:cubicBezTo>
                <a:cubicBezTo>
                  <a:pt x="174" y="433"/>
                  <a:pt x="174" y="433"/>
                  <a:pt x="174" y="433"/>
                </a:cubicBezTo>
                <a:cubicBezTo>
                  <a:pt x="170" y="391"/>
                  <a:pt x="150" y="348"/>
                  <a:pt x="112" y="303"/>
                </a:cubicBezTo>
                <a:cubicBezTo>
                  <a:pt x="110" y="300"/>
                  <a:pt x="105" y="295"/>
                  <a:pt x="99" y="289"/>
                </a:cubicBezTo>
                <a:cubicBezTo>
                  <a:pt x="93" y="282"/>
                  <a:pt x="89" y="278"/>
                  <a:pt x="86" y="274"/>
                </a:cubicBezTo>
                <a:cubicBezTo>
                  <a:pt x="66" y="251"/>
                  <a:pt x="56" y="225"/>
                  <a:pt x="56" y="196"/>
                </a:cubicBezTo>
                <a:cubicBezTo>
                  <a:pt x="56" y="175"/>
                  <a:pt x="61" y="155"/>
                  <a:pt x="71" y="137"/>
                </a:cubicBezTo>
                <a:cubicBezTo>
                  <a:pt x="81" y="119"/>
                  <a:pt x="94" y="104"/>
                  <a:pt x="111" y="93"/>
                </a:cubicBezTo>
                <a:cubicBezTo>
                  <a:pt x="127" y="81"/>
                  <a:pt x="145" y="72"/>
                  <a:pt x="164" y="65"/>
                </a:cubicBezTo>
                <a:cubicBezTo>
                  <a:pt x="184" y="59"/>
                  <a:pt x="204" y="56"/>
                  <a:pt x="224" y="56"/>
                </a:cubicBezTo>
                <a:cubicBezTo>
                  <a:pt x="244" y="56"/>
                  <a:pt x="264" y="59"/>
                  <a:pt x="284" y="65"/>
                </a:cubicBezTo>
                <a:cubicBezTo>
                  <a:pt x="303" y="72"/>
                  <a:pt x="321" y="81"/>
                  <a:pt x="338" y="93"/>
                </a:cubicBezTo>
                <a:cubicBezTo>
                  <a:pt x="354" y="104"/>
                  <a:pt x="367" y="119"/>
                  <a:pt x="377" y="137"/>
                </a:cubicBezTo>
                <a:cubicBezTo>
                  <a:pt x="387" y="155"/>
                  <a:pt x="392" y="175"/>
                  <a:pt x="392" y="196"/>
                </a:cubicBezTo>
                <a:cubicBezTo>
                  <a:pt x="392" y="225"/>
                  <a:pt x="382" y="251"/>
                  <a:pt x="362" y="274"/>
                </a:cubicBezTo>
                <a:close/>
                <a:moveTo>
                  <a:pt x="306" y="156"/>
                </a:moveTo>
                <a:cubicBezTo>
                  <a:pt x="295" y="145"/>
                  <a:pt x="282" y="137"/>
                  <a:pt x="268" y="133"/>
                </a:cubicBezTo>
                <a:cubicBezTo>
                  <a:pt x="253" y="128"/>
                  <a:pt x="239" y="126"/>
                  <a:pt x="224" y="126"/>
                </a:cubicBezTo>
                <a:cubicBezTo>
                  <a:pt x="214" y="130"/>
                  <a:pt x="214" y="130"/>
                  <a:pt x="214" y="130"/>
                </a:cubicBezTo>
                <a:cubicBezTo>
                  <a:pt x="210" y="139"/>
                  <a:pt x="210" y="139"/>
                  <a:pt x="210" y="139"/>
                </a:cubicBezTo>
                <a:cubicBezTo>
                  <a:pt x="214" y="149"/>
                  <a:pt x="214" y="149"/>
                  <a:pt x="214" y="149"/>
                </a:cubicBezTo>
                <a:cubicBezTo>
                  <a:pt x="224" y="154"/>
                  <a:pt x="224" y="154"/>
                  <a:pt x="224" y="154"/>
                </a:cubicBezTo>
                <a:cubicBezTo>
                  <a:pt x="239" y="154"/>
                  <a:pt x="255" y="157"/>
                  <a:pt x="270" y="164"/>
                </a:cubicBezTo>
                <a:cubicBezTo>
                  <a:pt x="286" y="172"/>
                  <a:pt x="294" y="182"/>
                  <a:pt x="294" y="196"/>
                </a:cubicBezTo>
                <a:cubicBezTo>
                  <a:pt x="298" y="205"/>
                  <a:pt x="298" y="205"/>
                  <a:pt x="298" y="205"/>
                </a:cubicBezTo>
                <a:cubicBezTo>
                  <a:pt x="308" y="210"/>
                  <a:pt x="308" y="210"/>
                  <a:pt x="308" y="210"/>
                </a:cubicBezTo>
                <a:cubicBezTo>
                  <a:pt x="318" y="205"/>
                  <a:pt x="318" y="205"/>
                  <a:pt x="318" y="205"/>
                </a:cubicBezTo>
                <a:cubicBezTo>
                  <a:pt x="322" y="196"/>
                  <a:pt x="322" y="196"/>
                  <a:pt x="322" y="196"/>
                </a:cubicBezTo>
                <a:cubicBezTo>
                  <a:pt x="322" y="180"/>
                  <a:pt x="317" y="167"/>
                  <a:pt x="306" y="156"/>
                </a:cubicBez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27" name="Rectangle 26"/>
          <p:cNvSpPr/>
          <p:nvPr/>
        </p:nvSpPr>
        <p:spPr>
          <a:xfrm>
            <a:off x="2198560" y="4826087"/>
            <a:ext cx="326316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  <a:tabLst>
                <a:tab pos="457200" algn="l"/>
                <a:tab pos="589280" algn="l"/>
              </a:tabLst>
            </a:pP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his chart can be a great indicator of project success or failure.</a:t>
            </a:r>
          </a:p>
        </p:txBody>
      </p:sp>
      <p:sp>
        <p:nvSpPr>
          <p:cNvPr id="14" name="Rectangle 13"/>
          <p:cNvSpPr/>
          <p:nvPr/>
        </p:nvSpPr>
        <p:spPr>
          <a:xfrm>
            <a:off x="613485" y="5537126"/>
            <a:ext cx="10901619" cy="646331"/>
          </a:xfrm>
          <a:prstGeom prst="rect">
            <a:avLst/>
          </a:prstGeom>
          <a:solidFill>
            <a:srgbClr val="FF9999"/>
          </a:solidFill>
        </p:spPr>
        <p:txBody>
          <a:bodyPr wrap="square">
            <a:spAutoFit/>
          </a:bodyPr>
          <a:lstStyle/>
          <a:p>
            <a:r>
              <a:rPr lang="en-US" b="1" dirty="0" smtClean="0"/>
              <a:t>NOTE: </a:t>
            </a:r>
            <a:r>
              <a:rPr lang="en-US" dirty="0" smtClean="0"/>
              <a:t>This information you gather as part of this process is </a:t>
            </a:r>
            <a:r>
              <a:rPr lang="en-US" b="1" u="sng" dirty="0" smtClean="0"/>
              <a:t>not intended to be shared with your organization</a:t>
            </a:r>
            <a:r>
              <a:rPr lang="en-US" dirty="0" smtClean="0"/>
              <a:t>.</a:t>
            </a:r>
            <a:r>
              <a:rPr lang="en-US" dirty="0"/>
              <a:t> </a:t>
            </a:r>
            <a:r>
              <a:rPr lang="en-CA" dirty="0" smtClean="0"/>
              <a:t>Maintain confidentiality: avoid </a:t>
            </a:r>
            <a:r>
              <a:rPr lang="en-CA" dirty="0"/>
              <a:t>embarrassing or surprising a </a:t>
            </a:r>
            <a:r>
              <a:rPr lang="en-CA" dirty="0" smtClean="0"/>
              <a:t>senior leader—use </a:t>
            </a:r>
            <a:r>
              <a:rPr lang="en-CA" dirty="0"/>
              <a:t>this diagram with care</a:t>
            </a:r>
            <a:r>
              <a:rPr lang="en-CA" dirty="0" smtClean="0"/>
              <a:t>!</a:t>
            </a:r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1460629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ext steps</a:t>
            </a:r>
            <a:endParaRPr lang="en-CA" dirty="0"/>
          </a:p>
        </p:txBody>
      </p:sp>
      <p:sp>
        <p:nvSpPr>
          <p:cNvPr id="7" name="TextBox 6"/>
          <p:cNvSpPr txBox="1"/>
          <p:nvPr/>
        </p:nvSpPr>
        <p:spPr>
          <a:xfrm>
            <a:off x="466744" y="1528675"/>
            <a:ext cx="1104836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800" dirty="0" smtClean="0"/>
              <a:t>	Gain concurrence from your </a:t>
            </a:r>
            <a:r>
              <a:rPr lang="en-CA" sz="2800" dirty="0"/>
              <a:t>sponsor</a:t>
            </a:r>
          </a:p>
          <a:p>
            <a:endParaRPr lang="en-CA" sz="2800" dirty="0" smtClean="0">
              <a:cs typeface="Arial" panose="020B0604020202020204" pitchFamily="34" charset="0"/>
            </a:endParaRPr>
          </a:p>
          <a:p>
            <a:r>
              <a:rPr lang="en-CA" sz="2800" dirty="0" smtClean="0">
                <a:cs typeface="Arial" panose="020B0604020202020204" pitchFamily="34" charset="0"/>
              </a:rPr>
              <a:t>	Get commitment from your </a:t>
            </a:r>
            <a:r>
              <a:rPr lang="en-CA" sz="2800" dirty="0">
                <a:cs typeface="Arial" panose="020B0604020202020204" pitchFamily="34" charset="0"/>
              </a:rPr>
              <a:t>sponsor to address the most </a:t>
            </a:r>
            <a:r>
              <a:rPr lang="en-CA" sz="2800" dirty="0" smtClean="0">
                <a:cs typeface="Arial" panose="020B0604020202020204" pitchFamily="34" charset="0"/>
              </a:rPr>
              <a:t>serious </a:t>
            </a:r>
          </a:p>
          <a:p>
            <a:r>
              <a:rPr lang="en-CA" sz="2800" dirty="0">
                <a:cs typeface="Arial" panose="020B0604020202020204" pitchFamily="34" charset="0"/>
              </a:rPr>
              <a:t> </a:t>
            </a:r>
            <a:r>
              <a:rPr lang="en-CA" sz="2800" dirty="0" smtClean="0">
                <a:cs typeface="Arial" panose="020B0604020202020204" pitchFamily="34" charset="0"/>
              </a:rPr>
              <a:t>          challenges</a:t>
            </a:r>
            <a:endParaRPr lang="en-CA" sz="2800" dirty="0">
              <a:cs typeface="Arial" panose="020B0604020202020204" pitchFamily="34" charset="0"/>
            </a:endParaRPr>
          </a:p>
          <a:p>
            <a:endParaRPr lang="en-CA" sz="2800" dirty="0" smtClean="0">
              <a:cs typeface="Arial" panose="020B0604020202020204" pitchFamily="34" charset="0"/>
            </a:endParaRPr>
          </a:p>
          <a:p>
            <a:r>
              <a:rPr lang="en-CA" sz="2800" dirty="0" smtClean="0">
                <a:cs typeface="Arial" panose="020B0604020202020204" pitchFamily="34" charset="0"/>
              </a:rPr>
              <a:t>	Start a plan to address champions with yellow </a:t>
            </a:r>
            <a:r>
              <a:rPr lang="en-CA" sz="2800" dirty="0">
                <a:cs typeface="Arial" panose="020B0604020202020204" pitchFamily="34" charset="0"/>
              </a:rPr>
              <a:t>and </a:t>
            </a:r>
            <a:r>
              <a:rPr lang="en-CA" sz="2800" dirty="0" smtClean="0">
                <a:cs typeface="Arial" panose="020B0604020202020204" pitchFamily="34" charset="0"/>
              </a:rPr>
              <a:t>red results; this </a:t>
            </a:r>
          </a:p>
          <a:p>
            <a:r>
              <a:rPr lang="en-CA" sz="2800" dirty="0">
                <a:cs typeface="Arial" panose="020B0604020202020204" pitchFamily="34" charset="0"/>
              </a:rPr>
              <a:t> </a:t>
            </a:r>
            <a:r>
              <a:rPr lang="en-CA" sz="2800" dirty="0" smtClean="0">
                <a:cs typeface="Arial" panose="020B0604020202020204" pitchFamily="34" charset="0"/>
              </a:rPr>
              <a:t>          will form the base of the </a:t>
            </a:r>
            <a:r>
              <a:rPr lang="en-CA" sz="2800" b="1" dirty="0" smtClean="0">
                <a:cs typeface="Arial" panose="020B0604020202020204" pitchFamily="34" charset="0"/>
              </a:rPr>
              <a:t>Sponsorship roadmap</a:t>
            </a:r>
            <a:r>
              <a:rPr lang="en-CA" sz="2800" dirty="0" smtClean="0">
                <a:cs typeface="Arial" panose="020B0604020202020204" pitchFamily="34" charset="0"/>
              </a:rPr>
              <a:t> that you will develop </a:t>
            </a:r>
          </a:p>
          <a:p>
            <a:r>
              <a:rPr lang="en-CA" sz="2800" dirty="0">
                <a:cs typeface="Arial" panose="020B0604020202020204" pitchFamily="34" charset="0"/>
              </a:rPr>
              <a:t> </a:t>
            </a:r>
            <a:r>
              <a:rPr lang="en-CA" sz="2800" dirty="0" smtClean="0">
                <a:cs typeface="Arial" panose="020B0604020202020204" pitchFamily="34" charset="0"/>
              </a:rPr>
              <a:t>          during the “Plan” phase of the </a:t>
            </a:r>
            <a:r>
              <a:rPr lang="en-CA" sz="2800" b="1" dirty="0" smtClean="0">
                <a:cs typeface="Arial" panose="020B0604020202020204" pitchFamily="34" charset="0"/>
                <a:hlinkClick r:id="rId2"/>
              </a:rPr>
              <a:t>WCM Playbook</a:t>
            </a:r>
            <a:endParaRPr lang="en-CA" sz="2800" b="1" dirty="0" smtClean="0">
              <a:cs typeface="Arial" panose="020B0604020202020204" pitchFamily="34" charset="0"/>
            </a:endParaRPr>
          </a:p>
          <a:p>
            <a:r>
              <a:rPr lang="en-CA" sz="2800" dirty="0" smtClean="0">
                <a:cs typeface="Arial" panose="020B0604020202020204" pitchFamily="34" charset="0"/>
              </a:rPr>
              <a:t>	</a:t>
            </a:r>
            <a:endParaRPr lang="en-CA" sz="2800" dirty="0">
              <a:cs typeface="Arial" panose="020B0604020202020204" pitchFamily="34" charset="0"/>
            </a:endParaRPr>
          </a:p>
        </p:txBody>
      </p:sp>
      <p:sp>
        <p:nvSpPr>
          <p:cNvPr id="8" name="Freeform 7" descr="AngleDoubleRight Icon"/>
          <p:cNvSpPr>
            <a:spLocks noEditPoints="1"/>
          </p:cNvSpPr>
          <p:nvPr/>
        </p:nvSpPr>
        <p:spPr bwMode="auto">
          <a:xfrm>
            <a:off x="613486" y="1553610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9" name="Freeform 8" descr="AngleDoubleRight Icon"/>
          <p:cNvSpPr>
            <a:spLocks noEditPoints="1"/>
          </p:cNvSpPr>
          <p:nvPr/>
        </p:nvSpPr>
        <p:spPr bwMode="auto">
          <a:xfrm>
            <a:off x="633979" y="2445749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0" name="Freeform 9" descr="AngleDoubleRight Icon"/>
          <p:cNvSpPr>
            <a:spLocks noEditPoints="1"/>
          </p:cNvSpPr>
          <p:nvPr/>
        </p:nvSpPr>
        <p:spPr bwMode="auto">
          <a:xfrm>
            <a:off x="649800" y="3702825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40551724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this guide</a:t>
            </a:r>
            <a:endParaRPr lang="en-CA" dirty="0"/>
          </a:p>
        </p:txBody>
      </p:sp>
      <p:sp>
        <p:nvSpPr>
          <p:cNvPr id="3" name="Rectangle 2"/>
          <p:cNvSpPr/>
          <p:nvPr/>
        </p:nvSpPr>
        <p:spPr>
          <a:xfrm>
            <a:off x="508758" y="1612260"/>
            <a:ext cx="11006345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 smtClean="0"/>
              <a:t>As a change manager, it is your role to ensure that the sponsor and champions are well equipped to lead the change. This guide, along with the </a:t>
            </a:r>
            <a:r>
              <a:rPr lang="en-US" b="1" dirty="0" smtClean="0">
                <a:hlinkClick r:id="rId2"/>
              </a:rPr>
              <a:t>Sponsorship assessment tool (Excel)</a:t>
            </a:r>
            <a:r>
              <a:rPr lang="en-US" dirty="0" smtClean="0"/>
              <a:t>, will help you identify who they are and their level of competency, and create a </a:t>
            </a:r>
            <a:r>
              <a:rPr lang="en-US" b="1" dirty="0" smtClean="0"/>
              <a:t>sponsorship diagram</a:t>
            </a:r>
            <a:r>
              <a:rPr lang="en-US" dirty="0" smtClean="0"/>
              <a:t>. </a:t>
            </a:r>
            <a:r>
              <a:rPr lang="en-CA" dirty="0"/>
              <a:t>The analysis </a:t>
            </a:r>
            <a:r>
              <a:rPr lang="en-CA" dirty="0" smtClean="0"/>
              <a:t>you </a:t>
            </a:r>
            <a:r>
              <a:rPr lang="en-CA" dirty="0"/>
              <a:t>conduct using this guide and </a:t>
            </a:r>
            <a:r>
              <a:rPr lang="en-CA" dirty="0" smtClean="0"/>
              <a:t>tool </a:t>
            </a:r>
            <a:r>
              <a:rPr lang="en-US" dirty="0" smtClean="0"/>
              <a:t>will assist you later in developing a </a:t>
            </a:r>
            <a:r>
              <a:rPr lang="en-US" b="1" dirty="0" smtClean="0"/>
              <a:t>sponsorship plan</a:t>
            </a:r>
            <a:r>
              <a:rPr lang="en-US" dirty="0" smtClean="0"/>
              <a:t> </a:t>
            </a:r>
            <a:r>
              <a:rPr lang="en-US" dirty="0"/>
              <a:t>that can then be shared with senior management.</a:t>
            </a:r>
          </a:p>
          <a:p>
            <a:endParaRPr lang="en-US" dirty="0"/>
          </a:p>
          <a:p>
            <a:r>
              <a:rPr lang="en-US" dirty="0"/>
              <a:t>This guide and the</a:t>
            </a:r>
            <a:r>
              <a:rPr lang="en-US" dirty="0">
                <a:hlinkClick r:id="rId2"/>
              </a:rPr>
              <a:t> </a:t>
            </a:r>
            <a:r>
              <a:rPr lang="en-US" b="1" dirty="0">
                <a:hlinkClick r:id="rId2"/>
              </a:rPr>
              <a:t>Sponsorship assessment </a:t>
            </a:r>
            <a:r>
              <a:rPr lang="en-US" b="1" dirty="0" smtClean="0">
                <a:hlinkClick r:id="rId2"/>
              </a:rPr>
              <a:t>tool (Excel) </a:t>
            </a:r>
            <a:r>
              <a:rPr lang="en-US" dirty="0"/>
              <a:t>were adapted from PROSCI</a:t>
            </a:r>
            <a:r>
              <a:rPr lang="en-US" baseline="30000" dirty="0"/>
              <a:t> ©</a:t>
            </a:r>
            <a:r>
              <a:rPr lang="en-US" dirty="0"/>
              <a:t> and developed with information from the PROSCI</a:t>
            </a:r>
            <a:r>
              <a:rPr lang="en-US" baseline="30000" dirty="0"/>
              <a:t>©</a:t>
            </a:r>
            <a:r>
              <a:rPr lang="en-US" dirty="0"/>
              <a:t> </a:t>
            </a:r>
            <a:r>
              <a:rPr lang="en-US" i="1" dirty="0"/>
              <a:t>Sponsorship and the sponsor assessment diagram 2018</a:t>
            </a:r>
            <a:r>
              <a:rPr lang="en-US" i="1" dirty="0" smtClean="0"/>
              <a:t>.</a:t>
            </a:r>
            <a:endParaRPr lang="en-US" i="1" dirty="0"/>
          </a:p>
        </p:txBody>
      </p:sp>
      <p:sp>
        <p:nvSpPr>
          <p:cNvPr id="4" name="Rectangle 3"/>
          <p:cNvSpPr/>
          <p:nvPr/>
        </p:nvSpPr>
        <p:spPr>
          <a:xfrm>
            <a:off x="508759" y="5216777"/>
            <a:ext cx="11006345" cy="646331"/>
          </a:xfrm>
          <a:prstGeom prst="rect">
            <a:avLst/>
          </a:prstGeom>
          <a:solidFill>
            <a:srgbClr val="FF9999"/>
          </a:solidFill>
        </p:spPr>
        <p:txBody>
          <a:bodyPr wrap="square">
            <a:spAutoFit/>
          </a:bodyPr>
          <a:lstStyle/>
          <a:p>
            <a:r>
              <a:rPr lang="en-US" b="1" dirty="0" smtClean="0"/>
              <a:t>NOTE: </a:t>
            </a:r>
            <a:r>
              <a:rPr lang="en-US" dirty="0" smtClean="0"/>
              <a:t>This information you gather as part of this process is </a:t>
            </a:r>
            <a:r>
              <a:rPr lang="en-US" b="1" u="sng" dirty="0" smtClean="0"/>
              <a:t>not intended to be shared with your organization</a:t>
            </a:r>
            <a:r>
              <a:rPr lang="en-US" dirty="0" smtClean="0"/>
              <a:t>.</a:t>
            </a:r>
            <a:r>
              <a:rPr lang="en-US" dirty="0"/>
              <a:t> </a:t>
            </a:r>
            <a:r>
              <a:rPr lang="en-CA" dirty="0" smtClean="0"/>
              <a:t>Maintain confidentiality: avoid </a:t>
            </a:r>
            <a:r>
              <a:rPr lang="en-CA" dirty="0"/>
              <a:t>embarrassing or surprising a </a:t>
            </a:r>
            <a:r>
              <a:rPr lang="en-CA" dirty="0" smtClean="0"/>
              <a:t>senior leader—use </a:t>
            </a:r>
            <a:r>
              <a:rPr lang="en-CA" dirty="0"/>
              <a:t>this diagram with care</a:t>
            </a:r>
            <a:r>
              <a:rPr lang="en-CA" dirty="0" smtClean="0"/>
              <a:t>!</a:t>
            </a:r>
            <a:endParaRPr lang="en-CA" dirty="0"/>
          </a:p>
        </p:txBody>
      </p:sp>
      <p:sp>
        <p:nvSpPr>
          <p:cNvPr id="5" name="Freeform 4" descr="LightBulb Icon"/>
          <p:cNvSpPr>
            <a:spLocks noEditPoints="1"/>
          </p:cNvSpPr>
          <p:nvPr/>
        </p:nvSpPr>
        <p:spPr bwMode="auto">
          <a:xfrm rot="21258215">
            <a:off x="4387851" y="3896207"/>
            <a:ext cx="571500" cy="855341"/>
          </a:xfrm>
          <a:custGeom>
            <a:avLst/>
            <a:gdLst>
              <a:gd name="T0" fmla="*/ 377 w 448"/>
              <a:gd name="T1" fmla="*/ 53 h 671"/>
              <a:gd name="T2" fmla="*/ 224 w 448"/>
              <a:gd name="T3" fmla="*/ 0 h 671"/>
              <a:gd name="T4" fmla="*/ 71 w 448"/>
              <a:gd name="T5" fmla="*/ 53 h 671"/>
              <a:gd name="T6" fmla="*/ 0 w 448"/>
              <a:gd name="T7" fmla="*/ 196 h 671"/>
              <a:gd name="T8" fmla="*/ 78 w 448"/>
              <a:gd name="T9" fmla="*/ 351 h 671"/>
              <a:gd name="T10" fmla="*/ 119 w 448"/>
              <a:gd name="T11" fmla="*/ 440 h 671"/>
              <a:gd name="T12" fmla="*/ 109 w 448"/>
              <a:gd name="T13" fmla="*/ 503 h 671"/>
              <a:gd name="T14" fmla="*/ 118 w 448"/>
              <a:gd name="T15" fmla="*/ 567 h 671"/>
              <a:gd name="T16" fmla="*/ 126 w 448"/>
              <a:gd name="T17" fmla="*/ 618 h 671"/>
              <a:gd name="T18" fmla="*/ 186 w 448"/>
              <a:gd name="T19" fmla="*/ 660 h 671"/>
              <a:gd name="T20" fmla="*/ 262 w 448"/>
              <a:gd name="T21" fmla="*/ 660 h 671"/>
              <a:gd name="T22" fmla="*/ 322 w 448"/>
              <a:gd name="T23" fmla="*/ 618 h 671"/>
              <a:gd name="T24" fmla="*/ 330 w 448"/>
              <a:gd name="T25" fmla="*/ 567 h 671"/>
              <a:gd name="T26" fmla="*/ 339 w 448"/>
              <a:gd name="T27" fmla="*/ 503 h 671"/>
              <a:gd name="T28" fmla="*/ 329 w 448"/>
              <a:gd name="T29" fmla="*/ 440 h 671"/>
              <a:gd name="T30" fmla="*/ 370 w 448"/>
              <a:gd name="T31" fmla="*/ 351 h 671"/>
              <a:gd name="T32" fmla="*/ 448 w 448"/>
              <a:gd name="T33" fmla="*/ 196 h 671"/>
              <a:gd name="T34" fmla="*/ 362 w 448"/>
              <a:gd name="T35" fmla="*/ 274 h 671"/>
              <a:gd name="T36" fmla="*/ 336 w 448"/>
              <a:gd name="T37" fmla="*/ 303 h 671"/>
              <a:gd name="T38" fmla="*/ 174 w 448"/>
              <a:gd name="T39" fmla="*/ 433 h 671"/>
              <a:gd name="T40" fmla="*/ 99 w 448"/>
              <a:gd name="T41" fmla="*/ 289 h 671"/>
              <a:gd name="T42" fmla="*/ 56 w 448"/>
              <a:gd name="T43" fmla="*/ 196 h 671"/>
              <a:gd name="T44" fmla="*/ 111 w 448"/>
              <a:gd name="T45" fmla="*/ 93 h 671"/>
              <a:gd name="T46" fmla="*/ 224 w 448"/>
              <a:gd name="T47" fmla="*/ 56 h 671"/>
              <a:gd name="T48" fmla="*/ 338 w 448"/>
              <a:gd name="T49" fmla="*/ 93 h 671"/>
              <a:gd name="T50" fmla="*/ 392 w 448"/>
              <a:gd name="T51" fmla="*/ 196 h 671"/>
              <a:gd name="T52" fmla="*/ 306 w 448"/>
              <a:gd name="T53" fmla="*/ 156 h 671"/>
              <a:gd name="T54" fmla="*/ 224 w 448"/>
              <a:gd name="T55" fmla="*/ 126 h 671"/>
              <a:gd name="T56" fmla="*/ 210 w 448"/>
              <a:gd name="T57" fmla="*/ 139 h 671"/>
              <a:gd name="T58" fmla="*/ 224 w 448"/>
              <a:gd name="T59" fmla="*/ 154 h 671"/>
              <a:gd name="T60" fmla="*/ 294 w 448"/>
              <a:gd name="T61" fmla="*/ 196 h 671"/>
              <a:gd name="T62" fmla="*/ 308 w 448"/>
              <a:gd name="T63" fmla="*/ 210 h 671"/>
              <a:gd name="T64" fmla="*/ 322 w 448"/>
              <a:gd name="T65" fmla="*/ 196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48" h="671">
                <a:moveTo>
                  <a:pt x="429" y="115"/>
                </a:moveTo>
                <a:cubicBezTo>
                  <a:pt x="416" y="90"/>
                  <a:pt x="398" y="69"/>
                  <a:pt x="377" y="53"/>
                </a:cubicBezTo>
                <a:cubicBezTo>
                  <a:pt x="356" y="36"/>
                  <a:pt x="332" y="23"/>
                  <a:pt x="306" y="14"/>
                </a:cubicBezTo>
                <a:cubicBezTo>
                  <a:pt x="279" y="4"/>
                  <a:pt x="252" y="0"/>
                  <a:pt x="224" y="0"/>
                </a:cubicBezTo>
                <a:cubicBezTo>
                  <a:pt x="196" y="0"/>
                  <a:pt x="169" y="4"/>
                  <a:pt x="142" y="14"/>
                </a:cubicBezTo>
                <a:cubicBezTo>
                  <a:pt x="116" y="23"/>
                  <a:pt x="92" y="36"/>
                  <a:pt x="71" y="53"/>
                </a:cubicBezTo>
                <a:cubicBezTo>
                  <a:pt x="50" y="69"/>
                  <a:pt x="32" y="90"/>
                  <a:pt x="20" y="115"/>
                </a:cubicBezTo>
                <a:cubicBezTo>
                  <a:pt x="7" y="140"/>
                  <a:pt x="0" y="167"/>
                  <a:pt x="0" y="196"/>
                </a:cubicBezTo>
                <a:cubicBezTo>
                  <a:pt x="0" y="241"/>
                  <a:pt x="15" y="280"/>
                  <a:pt x="45" y="313"/>
                </a:cubicBezTo>
                <a:cubicBezTo>
                  <a:pt x="58" y="327"/>
                  <a:pt x="69" y="340"/>
                  <a:pt x="78" y="351"/>
                </a:cubicBezTo>
                <a:cubicBezTo>
                  <a:pt x="86" y="362"/>
                  <a:pt x="95" y="376"/>
                  <a:pt x="104" y="393"/>
                </a:cubicBezTo>
                <a:cubicBezTo>
                  <a:pt x="112" y="409"/>
                  <a:pt x="117" y="425"/>
                  <a:pt x="119" y="440"/>
                </a:cubicBezTo>
                <a:cubicBezTo>
                  <a:pt x="105" y="448"/>
                  <a:pt x="98" y="460"/>
                  <a:pt x="98" y="475"/>
                </a:cubicBezTo>
                <a:cubicBezTo>
                  <a:pt x="98" y="486"/>
                  <a:pt x="102" y="496"/>
                  <a:pt x="109" y="503"/>
                </a:cubicBezTo>
                <a:cubicBezTo>
                  <a:pt x="102" y="511"/>
                  <a:pt x="98" y="521"/>
                  <a:pt x="98" y="531"/>
                </a:cubicBezTo>
                <a:cubicBezTo>
                  <a:pt x="98" y="547"/>
                  <a:pt x="105" y="558"/>
                  <a:pt x="118" y="567"/>
                </a:cubicBezTo>
                <a:cubicBezTo>
                  <a:pt x="114" y="574"/>
                  <a:pt x="112" y="580"/>
                  <a:pt x="112" y="587"/>
                </a:cubicBezTo>
                <a:cubicBezTo>
                  <a:pt x="112" y="601"/>
                  <a:pt x="117" y="611"/>
                  <a:pt x="126" y="618"/>
                </a:cubicBezTo>
                <a:cubicBezTo>
                  <a:pt x="135" y="626"/>
                  <a:pt x="146" y="629"/>
                  <a:pt x="160" y="629"/>
                </a:cubicBezTo>
                <a:cubicBezTo>
                  <a:pt x="166" y="642"/>
                  <a:pt x="174" y="652"/>
                  <a:pt x="186" y="660"/>
                </a:cubicBezTo>
                <a:cubicBezTo>
                  <a:pt x="198" y="668"/>
                  <a:pt x="210" y="671"/>
                  <a:pt x="224" y="671"/>
                </a:cubicBezTo>
                <a:cubicBezTo>
                  <a:pt x="238" y="671"/>
                  <a:pt x="250" y="668"/>
                  <a:pt x="262" y="660"/>
                </a:cubicBezTo>
                <a:cubicBezTo>
                  <a:pt x="274" y="652"/>
                  <a:pt x="283" y="642"/>
                  <a:pt x="288" y="629"/>
                </a:cubicBezTo>
                <a:cubicBezTo>
                  <a:pt x="302" y="629"/>
                  <a:pt x="313" y="626"/>
                  <a:pt x="322" y="618"/>
                </a:cubicBezTo>
                <a:cubicBezTo>
                  <a:pt x="331" y="611"/>
                  <a:pt x="336" y="601"/>
                  <a:pt x="336" y="587"/>
                </a:cubicBezTo>
                <a:cubicBezTo>
                  <a:pt x="336" y="580"/>
                  <a:pt x="334" y="574"/>
                  <a:pt x="330" y="567"/>
                </a:cubicBezTo>
                <a:cubicBezTo>
                  <a:pt x="343" y="558"/>
                  <a:pt x="350" y="547"/>
                  <a:pt x="350" y="531"/>
                </a:cubicBezTo>
                <a:cubicBezTo>
                  <a:pt x="350" y="521"/>
                  <a:pt x="346" y="511"/>
                  <a:pt x="339" y="503"/>
                </a:cubicBezTo>
                <a:cubicBezTo>
                  <a:pt x="346" y="496"/>
                  <a:pt x="350" y="486"/>
                  <a:pt x="350" y="475"/>
                </a:cubicBezTo>
                <a:cubicBezTo>
                  <a:pt x="350" y="460"/>
                  <a:pt x="343" y="448"/>
                  <a:pt x="329" y="440"/>
                </a:cubicBezTo>
                <a:cubicBezTo>
                  <a:pt x="331" y="425"/>
                  <a:pt x="336" y="409"/>
                  <a:pt x="344" y="393"/>
                </a:cubicBezTo>
                <a:cubicBezTo>
                  <a:pt x="353" y="376"/>
                  <a:pt x="362" y="362"/>
                  <a:pt x="370" y="351"/>
                </a:cubicBezTo>
                <a:cubicBezTo>
                  <a:pt x="379" y="340"/>
                  <a:pt x="390" y="327"/>
                  <a:pt x="403" y="313"/>
                </a:cubicBezTo>
                <a:cubicBezTo>
                  <a:pt x="433" y="280"/>
                  <a:pt x="448" y="241"/>
                  <a:pt x="448" y="196"/>
                </a:cubicBezTo>
                <a:cubicBezTo>
                  <a:pt x="448" y="167"/>
                  <a:pt x="442" y="140"/>
                  <a:pt x="429" y="115"/>
                </a:cubicBezTo>
                <a:close/>
                <a:moveTo>
                  <a:pt x="362" y="274"/>
                </a:moveTo>
                <a:cubicBezTo>
                  <a:pt x="359" y="278"/>
                  <a:pt x="355" y="282"/>
                  <a:pt x="349" y="289"/>
                </a:cubicBezTo>
                <a:cubicBezTo>
                  <a:pt x="343" y="295"/>
                  <a:pt x="338" y="300"/>
                  <a:pt x="336" y="303"/>
                </a:cubicBezTo>
                <a:cubicBezTo>
                  <a:pt x="298" y="348"/>
                  <a:pt x="278" y="391"/>
                  <a:pt x="274" y="433"/>
                </a:cubicBezTo>
                <a:cubicBezTo>
                  <a:pt x="174" y="433"/>
                  <a:pt x="174" y="433"/>
                  <a:pt x="174" y="433"/>
                </a:cubicBezTo>
                <a:cubicBezTo>
                  <a:pt x="170" y="391"/>
                  <a:pt x="150" y="348"/>
                  <a:pt x="112" y="303"/>
                </a:cubicBezTo>
                <a:cubicBezTo>
                  <a:pt x="110" y="300"/>
                  <a:pt x="105" y="295"/>
                  <a:pt x="99" y="289"/>
                </a:cubicBezTo>
                <a:cubicBezTo>
                  <a:pt x="93" y="282"/>
                  <a:pt x="89" y="278"/>
                  <a:pt x="86" y="274"/>
                </a:cubicBezTo>
                <a:cubicBezTo>
                  <a:pt x="66" y="251"/>
                  <a:pt x="56" y="225"/>
                  <a:pt x="56" y="196"/>
                </a:cubicBezTo>
                <a:cubicBezTo>
                  <a:pt x="56" y="175"/>
                  <a:pt x="61" y="155"/>
                  <a:pt x="71" y="137"/>
                </a:cubicBezTo>
                <a:cubicBezTo>
                  <a:pt x="81" y="119"/>
                  <a:pt x="94" y="104"/>
                  <a:pt x="111" y="93"/>
                </a:cubicBezTo>
                <a:cubicBezTo>
                  <a:pt x="127" y="81"/>
                  <a:pt x="145" y="72"/>
                  <a:pt x="164" y="65"/>
                </a:cubicBezTo>
                <a:cubicBezTo>
                  <a:pt x="184" y="59"/>
                  <a:pt x="204" y="56"/>
                  <a:pt x="224" y="56"/>
                </a:cubicBezTo>
                <a:cubicBezTo>
                  <a:pt x="244" y="56"/>
                  <a:pt x="264" y="59"/>
                  <a:pt x="284" y="65"/>
                </a:cubicBezTo>
                <a:cubicBezTo>
                  <a:pt x="303" y="72"/>
                  <a:pt x="321" y="81"/>
                  <a:pt x="338" y="93"/>
                </a:cubicBezTo>
                <a:cubicBezTo>
                  <a:pt x="354" y="104"/>
                  <a:pt x="367" y="119"/>
                  <a:pt x="377" y="137"/>
                </a:cubicBezTo>
                <a:cubicBezTo>
                  <a:pt x="387" y="155"/>
                  <a:pt x="392" y="175"/>
                  <a:pt x="392" y="196"/>
                </a:cubicBezTo>
                <a:cubicBezTo>
                  <a:pt x="392" y="225"/>
                  <a:pt x="382" y="251"/>
                  <a:pt x="362" y="274"/>
                </a:cubicBezTo>
                <a:close/>
                <a:moveTo>
                  <a:pt x="306" y="156"/>
                </a:moveTo>
                <a:cubicBezTo>
                  <a:pt x="295" y="145"/>
                  <a:pt x="282" y="137"/>
                  <a:pt x="268" y="133"/>
                </a:cubicBezTo>
                <a:cubicBezTo>
                  <a:pt x="253" y="128"/>
                  <a:pt x="239" y="126"/>
                  <a:pt x="224" y="126"/>
                </a:cubicBezTo>
                <a:cubicBezTo>
                  <a:pt x="214" y="130"/>
                  <a:pt x="214" y="130"/>
                  <a:pt x="214" y="130"/>
                </a:cubicBezTo>
                <a:cubicBezTo>
                  <a:pt x="210" y="139"/>
                  <a:pt x="210" y="139"/>
                  <a:pt x="210" y="139"/>
                </a:cubicBezTo>
                <a:cubicBezTo>
                  <a:pt x="214" y="149"/>
                  <a:pt x="214" y="149"/>
                  <a:pt x="214" y="149"/>
                </a:cubicBezTo>
                <a:cubicBezTo>
                  <a:pt x="224" y="154"/>
                  <a:pt x="224" y="154"/>
                  <a:pt x="224" y="154"/>
                </a:cubicBezTo>
                <a:cubicBezTo>
                  <a:pt x="239" y="154"/>
                  <a:pt x="255" y="157"/>
                  <a:pt x="270" y="164"/>
                </a:cubicBezTo>
                <a:cubicBezTo>
                  <a:pt x="286" y="172"/>
                  <a:pt x="294" y="182"/>
                  <a:pt x="294" y="196"/>
                </a:cubicBezTo>
                <a:cubicBezTo>
                  <a:pt x="298" y="205"/>
                  <a:pt x="298" y="205"/>
                  <a:pt x="298" y="205"/>
                </a:cubicBezTo>
                <a:cubicBezTo>
                  <a:pt x="308" y="210"/>
                  <a:pt x="308" y="210"/>
                  <a:pt x="308" y="210"/>
                </a:cubicBezTo>
                <a:cubicBezTo>
                  <a:pt x="318" y="205"/>
                  <a:pt x="318" y="205"/>
                  <a:pt x="318" y="205"/>
                </a:cubicBezTo>
                <a:cubicBezTo>
                  <a:pt x="322" y="196"/>
                  <a:pt x="322" y="196"/>
                  <a:pt x="322" y="196"/>
                </a:cubicBezTo>
                <a:cubicBezTo>
                  <a:pt x="322" y="180"/>
                  <a:pt x="317" y="167"/>
                  <a:pt x="306" y="156"/>
                </a:cubicBez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6" name="Rectangle 5"/>
          <p:cNvSpPr/>
          <p:nvPr/>
        </p:nvSpPr>
        <p:spPr>
          <a:xfrm>
            <a:off x="4837260" y="3954545"/>
            <a:ext cx="219181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  <a:tabLst>
                <a:tab pos="457200" algn="l"/>
                <a:tab pos="589280" algn="l"/>
              </a:tabLst>
            </a:pP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Look for this symbol throughout the document for additional tips!</a:t>
            </a:r>
            <a:endParaRPr lang="en-CA" sz="1400" i="1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400546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Overview: Sponsorship tools and documents</a:t>
            </a:r>
            <a:endParaRPr lang="en-CA" dirty="0"/>
          </a:p>
        </p:txBody>
      </p:sp>
      <p:sp>
        <p:nvSpPr>
          <p:cNvPr id="20" name="TextBox 19"/>
          <p:cNvSpPr txBox="1"/>
          <p:nvPr/>
        </p:nvSpPr>
        <p:spPr>
          <a:xfrm>
            <a:off x="1502235" y="1549550"/>
            <a:ext cx="7157409" cy="480131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1 Guide to assessing the sponsor and champions</a:t>
            </a:r>
            <a:r>
              <a:rPr lang="en-US" dirty="0" smtClean="0"/>
              <a:t> (PowerPoint)</a:t>
            </a:r>
          </a:p>
          <a:p>
            <a:pPr marL="285750" indent="-285750">
              <a:buFontTx/>
              <a:buChar char="-"/>
            </a:pPr>
            <a:r>
              <a:rPr lang="en-US" dirty="0" smtClean="0"/>
              <a:t>Provides information on roles</a:t>
            </a:r>
          </a:p>
          <a:p>
            <a:pPr marL="285750" indent="-285750">
              <a:buFontTx/>
              <a:buChar char="-"/>
            </a:pPr>
            <a:r>
              <a:rPr lang="en-US" dirty="0"/>
              <a:t>Helps identify who the sponsor and champions are</a:t>
            </a:r>
            <a:endParaRPr lang="en-US" dirty="0" smtClean="0"/>
          </a:p>
          <a:p>
            <a:pPr marL="285750" indent="-285750">
              <a:buFontTx/>
              <a:buChar char="-"/>
            </a:pPr>
            <a:r>
              <a:rPr lang="en-US" dirty="0" smtClean="0"/>
              <a:t>Guides you in completing the Sponsorship assessment tool</a:t>
            </a:r>
          </a:p>
          <a:p>
            <a:endParaRPr lang="en-US" dirty="0" smtClean="0"/>
          </a:p>
          <a:p>
            <a:r>
              <a:rPr lang="en-US" b="1" dirty="0" smtClean="0"/>
              <a:t>2 Sponsorship </a:t>
            </a:r>
            <a:r>
              <a:rPr lang="en-US" b="1" dirty="0"/>
              <a:t>assessment tool </a:t>
            </a:r>
            <a:r>
              <a:rPr lang="en-US" dirty="0" smtClean="0"/>
              <a:t>(Excel</a:t>
            </a:r>
            <a:r>
              <a:rPr lang="en-US" dirty="0"/>
              <a:t>)</a:t>
            </a:r>
          </a:p>
          <a:p>
            <a:pPr marL="285750" indent="-285750">
              <a:buFontTx/>
              <a:buChar char="-"/>
            </a:pPr>
            <a:r>
              <a:rPr lang="en-US" dirty="0"/>
              <a:t>Helps identify the sponsor and champions’ positions towards the change and their competency level in their </a:t>
            </a:r>
            <a:r>
              <a:rPr lang="en-US" dirty="0" smtClean="0"/>
              <a:t>roles</a:t>
            </a:r>
          </a:p>
          <a:p>
            <a:pPr marL="285750" indent="-285750">
              <a:buFontTx/>
              <a:buChar char="-"/>
            </a:pPr>
            <a:endParaRPr lang="en-US" dirty="0" smtClean="0"/>
          </a:p>
          <a:p>
            <a:r>
              <a:rPr lang="en-US" b="1" dirty="0" smtClean="0"/>
              <a:t>3 Sponsorship </a:t>
            </a:r>
            <a:r>
              <a:rPr lang="en-US" b="1" dirty="0"/>
              <a:t>roadmap </a:t>
            </a:r>
            <a:r>
              <a:rPr lang="en-US" dirty="0" smtClean="0"/>
              <a:t>(Word</a:t>
            </a:r>
            <a:r>
              <a:rPr lang="en-US" dirty="0"/>
              <a:t>)</a:t>
            </a:r>
          </a:p>
          <a:p>
            <a:pPr marL="285750" indent="-285750">
              <a:buFontTx/>
              <a:buChar char="-"/>
            </a:pPr>
            <a:r>
              <a:rPr lang="en-US" dirty="0"/>
              <a:t>Template for the change manager to customize based on the results of the </a:t>
            </a:r>
            <a:r>
              <a:rPr lang="en-US" b="1" dirty="0"/>
              <a:t>Sponsorship coalition assessment </a:t>
            </a:r>
            <a:r>
              <a:rPr lang="en-US" dirty="0"/>
              <a:t>and the </a:t>
            </a:r>
            <a:r>
              <a:rPr lang="en-US" b="1" dirty="0"/>
              <a:t>Sponsorship </a:t>
            </a:r>
            <a:r>
              <a:rPr lang="en-US" b="1" dirty="0" smtClean="0"/>
              <a:t>diagram</a:t>
            </a:r>
          </a:p>
          <a:p>
            <a:pPr marL="285750" indent="-285750">
              <a:buFontTx/>
              <a:buChar char="-"/>
            </a:pPr>
            <a:endParaRPr lang="en-US" b="1" dirty="0"/>
          </a:p>
          <a:p>
            <a:r>
              <a:rPr lang="en-US" b="1" dirty="0" smtClean="0"/>
              <a:t>4 Sponsor Guide–Roles and Responsibilities </a:t>
            </a:r>
            <a:r>
              <a:rPr lang="en-US" dirty="0" smtClean="0"/>
              <a:t>(PowerPoint)</a:t>
            </a:r>
            <a:endParaRPr lang="en-US" dirty="0"/>
          </a:p>
          <a:p>
            <a:pPr marL="285750" indent="-285750">
              <a:buFontTx/>
              <a:buChar char="-"/>
            </a:pPr>
            <a:r>
              <a:rPr lang="en-US" dirty="0"/>
              <a:t>Part of the leadership toolkit</a:t>
            </a:r>
          </a:p>
          <a:p>
            <a:pPr marL="285750" indent="-285750">
              <a:buFontTx/>
              <a:buChar char="-"/>
            </a:pPr>
            <a:r>
              <a:rPr lang="en-US" dirty="0"/>
              <a:t>Guide </a:t>
            </a:r>
            <a:r>
              <a:rPr lang="en-US" dirty="0" smtClean="0"/>
              <a:t>that can </a:t>
            </a:r>
            <a:r>
              <a:rPr lang="en-US" dirty="0"/>
              <a:t>be used to educate the sponsor and champions on their </a:t>
            </a:r>
            <a:r>
              <a:rPr lang="en-US" dirty="0" smtClean="0"/>
              <a:t>roles</a:t>
            </a:r>
            <a:endParaRPr lang="en-CA" dirty="0"/>
          </a:p>
        </p:txBody>
      </p:sp>
      <p:sp>
        <p:nvSpPr>
          <p:cNvPr id="19" name="Freeform 18" descr="Browser Icon"/>
          <p:cNvSpPr>
            <a:spLocks noEditPoints="1"/>
          </p:cNvSpPr>
          <p:nvPr/>
        </p:nvSpPr>
        <p:spPr bwMode="auto">
          <a:xfrm>
            <a:off x="628768" y="1639251"/>
            <a:ext cx="571500" cy="489944"/>
          </a:xfrm>
          <a:custGeom>
            <a:avLst/>
            <a:gdLst>
              <a:gd name="T0" fmla="*/ 9031 w 25287"/>
              <a:gd name="T1" fmla="*/ 1806 h 21675"/>
              <a:gd name="T2" fmla="*/ 10837 w 25287"/>
              <a:gd name="T3" fmla="*/ 1806 h 21675"/>
              <a:gd name="T4" fmla="*/ 10837 w 25287"/>
              <a:gd name="T5" fmla="*/ 3612 h 21675"/>
              <a:gd name="T6" fmla="*/ 9031 w 25287"/>
              <a:gd name="T7" fmla="*/ 3612 h 21675"/>
              <a:gd name="T8" fmla="*/ 9031 w 25287"/>
              <a:gd name="T9" fmla="*/ 1806 h 21675"/>
              <a:gd name="T10" fmla="*/ 5419 w 25287"/>
              <a:gd name="T11" fmla="*/ 1806 h 21675"/>
              <a:gd name="T12" fmla="*/ 7225 w 25287"/>
              <a:gd name="T13" fmla="*/ 1806 h 21675"/>
              <a:gd name="T14" fmla="*/ 7225 w 25287"/>
              <a:gd name="T15" fmla="*/ 3612 h 21675"/>
              <a:gd name="T16" fmla="*/ 5419 w 25287"/>
              <a:gd name="T17" fmla="*/ 3612 h 21675"/>
              <a:gd name="T18" fmla="*/ 5419 w 25287"/>
              <a:gd name="T19" fmla="*/ 1806 h 21675"/>
              <a:gd name="T20" fmla="*/ 1806 w 25287"/>
              <a:gd name="T21" fmla="*/ 1806 h 21675"/>
              <a:gd name="T22" fmla="*/ 3612 w 25287"/>
              <a:gd name="T23" fmla="*/ 1806 h 21675"/>
              <a:gd name="T24" fmla="*/ 3612 w 25287"/>
              <a:gd name="T25" fmla="*/ 3612 h 21675"/>
              <a:gd name="T26" fmla="*/ 1806 w 25287"/>
              <a:gd name="T27" fmla="*/ 3612 h 21675"/>
              <a:gd name="T28" fmla="*/ 1806 w 25287"/>
              <a:gd name="T29" fmla="*/ 1806 h 21675"/>
              <a:gd name="T30" fmla="*/ 23481 w 25287"/>
              <a:gd name="T31" fmla="*/ 19868 h 21675"/>
              <a:gd name="T32" fmla="*/ 1806 w 25287"/>
              <a:gd name="T33" fmla="*/ 19868 h 21675"/>
              <a:gd name="T34" fmla="*/ 1806 w 25287"/>
              <a:gd name="T35" fmla="*/ 5419 h 21675"/>
              <a:gd name="T36" fmla="*/ 23481 w 25287"/>
              <a:gd name="T37" fmla="*/ 5419 h 21675"/>
              <a:gd name="T38" fmla="*/ 23481 w 25287"/>
              <a:gd name="T39" fmla="*/ 19868 h 21675"/>
              <a:gd name="T40" fmla="*/ 23481 w 25287"/>
              <a:gd name="T41" fmla="*/ 3612 h 21675"/>
              <a:gd name="T42" fmla="*/ 12644 w 25287"/>
              <a:gd name="T43" fmla="*/ 3612 h 21675"/>
              <a:gd name="T44" fmla="*/ 12644 w 25287"/>
              <a:gd name="T45" fmla="*/ 1806 h 21675"/>
              <a:gd name="T46" fmla="*/ 23481 w 25287"/>
              <a:gd name="T47" fmla="*/ 1806 h 21675"/>
              <a:gd name="T48" fmla="*/ 23481 w 25287"/>
              <a:gd name="T49" fmla="*/ 3612 h 21675"/>
              <a:gd name="T50" fmla="*/ 25287 w 25287"/>
              <a:gd name="T51" fmla="*/ 1806 h 21675"/>
              <a:gd name="T52" fmla="*/ 23481 w 25287"/>
              <a:gd name="T53" fmla="*/ 0 h 21675"/>
              <a:gd name="T54" fmla="*/ 1806 w 25287"/>
              <a:gd name="T55" fmla="*/ 0 h 21675"/>
              <a:gd name="T56" fmla="*/ 0 w 25287"/>
              <a:gd name="T57" fmla="*/ 1806 h 21675"/>
              <a:gd name="T58" fmla="*/ 0 w 25287"/>
              <a:gd name="T59" fmla="*/ 19868 h 21675"/>
              <a:gd name="T60" fmla="*/ 1806 w 25287"/>
              <a:gd name="T61" fmla="*/ 21675 h 21675"/>
              <a:gd name="T62" fmla="*/ 23481 w 25287"/>
              <a:gd name="T63" fmla="*/ 21675 h 21675"/>
              <a:gd name="T64" fmla="*/ 25287 w 25287"/>
              <a:gd name="T65" fmla="*/ 19868 h 21675"/>
              <a:gd name="T66" fmla="*/ 25287 w 25287"/>
              <a:gd name="T67" fmla="*/ 1806 h 21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5287" h="21675">
                <a:moveTo>
                  <a:pt x="9031" y="1806"/>
                </a:moveTo>
                <a:lnTo>
                  <a:pt x="10837" y="1806"/>
                </a:lnTo>
                <a:lnTo>
                  <a:pt x="10837" y="3612"/>
                </a:lnTo>
                <a:lnTo>
                  <a:pt x="9031" y="3612"/>
                </a:lnTo>
                <a:lnTo>
                  <a:pt x="9031" y="1806"/>
                </a:lnTo>
                <a:close/>
                <a:moveTo>
                  <a:pt x="5419" y="1806"/>
                </a:moveTo>
                <a:lnTo>
                  <a:pt x="7225" y="1806"/>
                </a:lnTo>
                <a:lnTo>
                  <a:pt x="7225" y="3612"/>
                </a:lnTo>
                <a:lnTo>
                  <a:pt x="5419" y="3612"/>
                </a:lnTo>
                <a:lnTo>
                  <a:pt x="5419" y="1806"/>
                </a:lnTo>
                <a:close/>
                <a:moveTo>
                  <a:pt x="1806" y="1806"/>
                </a:moveTo>
                <a:lnTo>
                  <a:pt x="3612" y="1806"/>
                </a:lnTo>
                <a:lnTo>
                  <a:pt x="3612" y="3612"/>
                </a:lnTo>
                <a:lnTo>
                  <a:pt x="1806" y="3612"/>
                </a:lnTo>
                <a:lnTo>
                  <a:pt x="1806" y="1806"/>
                </a:lnTo>
                <a:close/>
                <a:moveTo>
                  <a:pt x="23481" y="19868"/>
                </a:moveTo>
                <a:lnTo>
                  <a:pt x="1806" y="19868"/>
                </a:lnTo>
                <a:lnTo>
                  <a:pt x="1806" y="5419"/>
                </a:lnTo>
                <a:lnTo>
                  <a:pt x="23481" y="5419"/>
                </a:lnTo>
                <a:lnTo>
                  <a:pt x="23481" y="19868"/>
                </a:lnTo>
                <a:close/>
                <a:moveTo>
                  <a:pt x="23481" y="3612"/>
                </a:moveTo>
                <a:lnTo>
                  <a:pt x="12644" y="3612"/>
                </a:lnTo>
                <a:lnTo>
                  <a:pt x="12644" y="1806"/>
                </a:lnTo>
                <a:lnTo>
                  <a:pt x="23481" y="1806"/>
                </a:lnTo>
                <a:lnTo>
                  <a:pt x="23481" y="3612"/>
                </a:lnTo>
                <a:close/>
                <a:moveTo>
                  <a:pt x="25287" y="1806"/>
                </a:moveTo>
                <a:cubicBezTo>
                  <a:pt x="25287" y="808"/>
                  <a:pt x="24479" y="0"/>
                  <a:pt x="23481" y="0"/>
                </a:cubicBezTo>
                <a:lnTo>
                  <a:pt x="1806" y="0"/>
                </a:lnTo>
                <a:cubicBezTo>
                  <a:pt x="809" y="0"/>
                  <a:pt x="0" y="808"/>
                  <a:pt x="0" y="1806"/>
                </a:cubicBezTo>
                <a:lnTo>
                  <a:pt x="0" y="19868"/>
                </a:lnTo>
                <a:cubicBezTo>
                  <a:pt x="0" y="20866"/>
                  <a:pt x="809" y="21675"/>
                  <a:pt x="1806" y="21675"/>
                </a:cubicBezTo>
                <a:lnTo>
                  <a:pt x="23481" y="21675"/>
                </a:lnTo>
                <a:cubicBezTo>
                  <a:pt x="24479" y="21675"/>
                  <a:pt x="25287" y="20866"/>
                  <a:pt x="25287" y="19868"/>
                </a:cubicBezTo>
                <a:lnTo>
                  <a:pt x="25287" y="1806"/>
                </a:lnTo>
                <a:close/>
              </a:path>
            </a:pathLst>
          </a:custGeom>
          <a:solidFill>
            <a:srgbClr val="99999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17" name="Freeform 16" descr="ListNumbered Icon"/>
          <p:cNvSpPr>
            <a:spLocks noEditPoints="1"/>
          </p:cNvSpPr>
          <p:nvPr/>
        </p:nvSpPr>
        <p:spPr bwMode="auto">
          <a:xfrm>
            <a:off x="628768" y="2967753"/>
            <a:ext cx="571500" cy="572646"/>
          </a:xfrm>
          <a:custGeom>
            <a:avLst/>
            <a:gdLst>
              <a:gd name="T0" fmla="*/ 977 w 995"/>
              <a:gd name="T1" fmla="*/ 138 h 998"/>
              <a:gd name="T2" fmla="*/ 283 w 995"/>
              <a:gd name="T3" fmla="*/ 143 h 998"/>
              <a:gd name="T4" fmla="*/ 278 w 995"/>
              <a:gd name="T5" fmla="*/ 263 h 998"/>
              <a:gd name="T6" fmla="*/ 296 w 995"/>
              <a:gd name="T7" fmla="*/ 281 h 998"/>
              <a:gd name="T8" fmla="*/ 989 w 995"/>
              <a:gd name="T9" fmla="*/ 276 h 998"/>
              <a:gd name="T10" fmla="*/ 995 w 995"/>
              <a:gd name="T11" fmla="*/ 156 h 998"/>
              <a:gd name="T12" fmla="*/ 989 w 995"/>
              <a:gd name="T13" fmla="*/ 430 h 998"/>
              <a:gd name="T14" fmla="*/ 296 w 995"/>
              <a:gd name="T15" fmla="*/ 424 h 998"/>
              <a:gd name="T16" fmla="*/ 278 w 995"/>
              <a:gd name="T17" fmla="*/ 442 h 998"/>
              <a:gd name="T18" fmla="*/ 283 w 995"/>
              <a:gd name="T19" fmla="*/ 563 h 998"/>
              <a:gd name="T20" fmla="*/ 977 w 995"/>
              <a:gd name="T21" fmla="*/ 568 h 998"/>
              <a:gd name="T22" fmla="*/ 995 w 995"/>
              <a:gd name="T23" fmla="*/ 550 h 998"/>
              <a:gd name="T24" fmla="*/ 989 w 995"/>
              <a:gd name="T25" fmla="*/ 430 h 998"/>
              <a:gd name="T26" fmla="*/ 146 w 995"/>
              <a:gd name="T27" fmla="*/ 0 h 998"/>
              <a:gd name="T28" fmla="*/ 10 w 995"/>
              <a:gd name="T29" fmla="*/ 71 h 998"/>
              <a:gd name="T30" fmla="*/ 78 w 995"/>
              <a:gd name="T31" fmla="*/ 83 h 998"/>
              <a:gd name="T32" fmla="*/ 79 w 995"/>
              <a:gd name="T33" fmla="*/ 90 h 998"/>
              <a:gd name="T34" fmla="*/ 79 w 995"/>
              <a:gd name="T35" fmla="*/ 226 h 998"/>
              <a:gd name="T36" fmla="*/ 19 w 995"/>
              <a:gd name="T37" fmla="*/ 281 h 998"/>
              <a:gd name="T38" fmla="*/ 206 w 995"/>
              <a:gd name="T39" fmla="*/ 226 h 998"/>
              <a:gd name="T40" fmla="*/ 989 w 995"/>
              <a:gd name="T41" fmla="*/ 717 h 998"/>
              <a:gd name="T42" fmla="*/ 296 w 995"/>
              <a:gd name="T43" fmla="*/ 711 h 998"/>
              <a:gd name="T44" fmla="*/ 278 w 995"/>
              <a:gd name="T45" fmla="*/ 729 h 998"/>
              <a:gd name="T46" fmla="*/ 283 w 995"/>
              <a:gd name="T47" fmla="*/ 849 h 998"/>
              <a:gd name="T48" fmla="*/ 977 w 995"/>
              <a:gd name="T49" fmla="*/ 855 h 998"/>
              <a:gd name="T50" fmla="*/ 995 w 995"/>
              <a:gd name="T51" fmla="*/ 837 h 998"/>
              <a:gd name="T52" fmla="*/ 989 w 995"/>
              <a:gd name="T53" fmla="*/ 717 h 998"/>
              <a:gd name="T54" fmla="*/ 147 w 995"/>
              <a:gd name="T55" fmla="*/ 584 h 998"/>
              <a:gd name="T56" fmla="*/ 96 w 995"/>
              <a:gd name="T57" fmla="*/ 555 h 998"/>
              <a:gd name="T58" fmla="*/ 180 w 995"/>
              <a:gd name="T59" fmla="*/ 490 h 998"/>
              <a:gd name="T60" fmla="*/ 171 w 995"/>
              <a:gd name="T61" fmla="*/ 376 h 998"/>
              <a:gd name="T62" fmla="*/ 43 w 995"/>
              <a:gd name="T63" fmla="*/ 369 h 998"/>
              <a:gd name="T64" fmla="*/ 51 w 995"/>
              <a:gd name="T65" fmla="*/ 446 h 998"/>
              <a:gd name="T66" fmla="*/ 118 w 995"/>
              <a:gd name="T67" fmla="*/ 421 h 998"/>
              <a:gd name="T68" fmla="*/ 113 w 995"/>
              <a:gd name="T69" fmla="*/ 468 h 998"/>
              <a:gd name="T70" fmla="*/ 45 w 995"/>
              <a:gd name="T71" fmla="*/ 519 h 998"/>
              <a:gd name="T72" fmla="*/ 0 w 995"/>
              <a:gd name="T73" fmla="*/ 609 h 998"/>
              <a:gd name="T74" fmla="*/ 206 w 995"/>
              <a:gd name="T75" fmla="*/ 640 h 998"/>
              <a:gd name="T76" fmla="*/ 147 w 995"/>
              <a:gd name="T77" fmla="*/ 550 h 998"/>
              <a:gd name="T78" fmla="*/ 142 w 995"/>
              <a:gd name="T79" fmla="*/ 825 h 998"/>
              <a:gd name="T80" fmla="*/ 196 w 995"/>
              <a:gd name="T81" fmla="*/ 711 h 998"/>
              <a:gd name="T82" fmla="*/ 9 w 995"/>
              <a:gd name="T83" fmla="*/ 796 h 998"/>
              <a:gd name="T84" fmla="*/ 69 w 995"/>
              <a:gd name="T85" fmla="*/ 767 h 998"/>
              <a:gd name="T86" fmla="*/ 123 w 995"/>
              <a:gd name="T87" fmla="*/ 765 h 998"/>
              <a:gd name="T88" fmla="*/ 102 w 995"/>
              <a:gd name="T89" fmla="*/ 788 h 998"/>
              <a:gd name="T90" fmla="*/ 60 w 995"/>
              <a:gd name="T91" fmla="*/ 842 h 998"/>
              <a:gd name="T92" fmla="*/ 134 w 995"/>
              <a:gd name="T93" fmla="*/ 905 h 998"/>
              <a:gd name="T94" fmla="*/ 93 w 995"/>
              <a:gd name="T95" fmla="*/ 937 h 998"/>
              <a:gd name="T96" fmla="*/ 2 w 995"/>
              <a:gd name="T97" fmla="*/ 961 h 998"/>
              <a:gd name="T98" fmla="*/ 174 w 995"/>
              <a:gd name="T99" fmla="*/ 972 h 998"/>
              <a:gd name="T100" fmla="*/ 188 w 995"/>
              <a:gd name="T101" fmla="*/ 852 h 99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995" h="998">
                <a:moveTo>
                  <a:pt x="989" y="143"/>
                </a:moveTo>
                <a:cubicBezTo>
                  <a:pt x="977" y="138"/>
                  <a:pt x="977" y="138"/>
                  <a:pt x="977" y="138"/>
                </a:cubicBezTo>
                <a:cubicBezTo>
                  <a:pt x="296" y="138"/>
                  <a:pt x="296" y="138"/>
                  <a:pt x="296" y="138"/>
                </a:cubicBezTo>
                <a:cubicBezTo>
                  <a:pt x="283" y="143"/>
                  <a:pt x="283" y="143"/>
                  <a:pt x="283" y="143"/>
                </a:cubicBezTo>
                <a:cubicBezTo>
                  <a:pt x="278" y="156"/>
                  <a:pt x="278" y="156"/>
                  <a:pt x="278" y="156"/>
                </a:cubicBezTo>
                <a:cubicBezTo>
                  <a:pt x="278" y="263"/>
                  <a:pt x="278" y="263"/>
                  <a:pt x="278" y="263"/>
                </a:cubicBezTo>
                <a:cubicBezTo>
                  <a:pt x="283" y="276"/>
                  <a:pt x="283" y="276"/>
                  <a:pt x="283" y="276"/>
                </a:cubicBezTo>
                <a:cubicBezTo>
                  <a:pt x="296" y="281"/>
                  <a:pt x="296" y="281"/>
                  <a:pt x="296" y="281"/>
                </a:cubicBezTo>
                <a:cubicBezTo>
                  <a:pt x="977" y="281"/>
                  <a:pt x="977" y="281"/>
                  <a:pt x="977" y="281"/>
                </a:cubicBezTo>
                <a:cubicBezTo>
                  <a:pt x="989" y="276"/>
                  <a:pt x="989" y="276"/>
                  <a:pt x="989" y="276"/>
                </a:cubicBezTo>
                <a:cubicBezTo>
                  <a:pt x="995" y="263"/>
                  <a:pt x="995" y="263"/>
                  <a:pt x="995" y="263"/>
                </a:cubicBezTo>
                <a:cubicBezTo>
                  <a:pt x="995" y="156"/>
                  <a:pt x="995" y="156"/>
                  <a:pt x="995" y="156"/>
                </a:cubicBezTo>
                <a:lnTo>
                  <a:pt x="989" y="143"/>
                </a:lnTo>
                <a:close/>
                <a:moveTo>
                  <a:pt x="989" y="430"/>
                </a:moveTo>
                <a:cubicBezTo>
                  <a:pt x="977" y="424"/>
                  <a:pt x="977" y="424"/>
                  <a:pt x="977" y="424"/>
                </a:cubicBezTo>
                <a:cubicBezTo>
                  <a:pt x="296" y="424"/>
                  <a:pt x="296" y="424"/>
                  <a:pt x="296" y="424"/>
                </a:cubicBezTo>
                <a:cubicBezTo>
                  <a:pt x="283" y="430"/>
                  <a:pt x="283" y="430"/>
                  <a:pt x="283" y="430"/>
                </a:cubicBezTo>
                <a:cubicBezTo>
                  <a:pt x="278" y="442"/>
                  <a:pt x="278" y="442"/>
                  <a:pt x="278" y="442"/>
                </a:cubicBezTo>
                <a:cubicBezTo>
                  <a:pt x="278" y="550"/>
                  <a:pt x="278" y="550"/>
                  <a:pt x="278" y="550"/>
                </a:cubicBezTo>
                <a:cubicBezTo>
                  <a:pt x="283" y="563"/>
                  <a:pt x="283" y="563"/>
                  <a:pt x="283" y="563"/>
                </a:cubicBezTo>
                <a:cubicBezTo>
                  <a:pt x="296" y="568"/>
                  <a:pt x="296" y="568"/>
                  <a:pt x="296" y="568"/>
                </a:cubicBezTo>
                <a:cubicBezTo>
                  <a:pt x="977" y="568"/>
                  <a:pt x="977" y="568"/>
                  <a:pt x="977" y="568"/>
                </a:cubicBezTo>
                <a:cubicBezTo>
                  <a:pt x="989" y="563"/>
                  <a:pt x="989" y="563"/>
                  <a:pt x="989" y="563"/>
                </a:cubicBezTo>
                <a:cubicBezTo>
                  <a:pt x="995" y="550"/>
                  <a:pt x="995" y="550"/>
                  <a:pt x="995" y="550"/>
                </a:cubicBezTo>
                <a:cubicBezTo>
                  <a:pt x="995" y="442"/>
                  <a:pt x="995" y="442"/>
                  <a:pt x="995" y="442"/>
                </a:cubicBezTo>
                <a:lnTo>
                  <a:pt x="989" y="430"/>
                </a:lnTo>
                <a:close/>
                <a:moveTo>
                  <a:pt x="146" y="226"/>
                </a:moveTo>
                <a:cubicBezTo>
                  <a:pt x="146" y="0"/>
                  <a:pt x="146" y="0"/>
                  <a:pt x="146" y="0"/>
                </a:cubicBezTo>
                <a:cubicBezTo>
                  <a:pt x="87" y="0"/>
                  <a:pt x="87" y="0"/>
                  <a:pt x="87" y="0"/>
                </a:cubicBezTo>
                <a:cubicBezTo>
                  <a:pt x="10" y="71"/>
                  <a:pt x="10" y="71"/>
                  <a:pt x="10" y="71"/>
                </a:cubicBezTo>
                <a:cubicBezTo>
                  <a:pt x="50" y="113"/>
                  <a:pt x="50" y="113"/>
                  <a:pt x="50" y="113"/>
                </a:cubicBezTo>
                <a:cubicBezTo>
                  <a:pt x="66" y="99"/>
                  <a:pt x="75" y="89"/>
                  <a:pt x="78" y="83"/>
                </a:cubicBezTo>
                <a:cubicBezTo>
                  <a:pt x="79" y="83"/>
                  <a:pt x="79" y="83"/>
                  <a:pt x="79" y="83"/>
                </a:cubicBezTo>
                <a:cubicBezTo>
                  <a:pt x="79" y="90"/>
                  <a:pt x="79" y="90"/>
                  <a:pt x="79" y="90"/>
                </a:cubicBezTo>
                <a:cubicBezTo>
                  <a:pt x="79" y="105"/>
                  <a:pt x="79" y="127"/>
                  <a:pt x="79" y="157"/>
                </a:cubicBezTo>
                <a:cubicBezTo>
                  <a:pt x="79" y="188"/>
                  <a:pt x="79" y="210"/>
                  <a:pt x="79" y="226"/>
                </a:cubicBezTo>
                <a:cubicBezTo>
                  <a:pt x="19" y="226"/>
                  <a:pt x="19" y="226"/>
                  <a:pt x="19" y="226"/>
                </a:cubicBezTo>
                <a:cubicBezTo>
                  <a:pt x="19" y="281"/>
                  <a:pt x="19" y="281"/>
                  <a:pt x="19" y="281"/>
                </a:cubicBezTo>
                <a:cubicBezTo>
                  <a:pt x="206" y="281"/>
                  <a:pt x="206" y="281"/>
                  <a:pt x="206" y="281"/>
                </a:cubicBezTo>
                <a:cubicBezTo>
                  <a:pt x="206" y="226"/>
                  <a:pt x="206" y="226"/>
                  <a:pt x="206" y="226"/>
                </a:cubicBezTo>
                <a:lnTo>
                  <a:pt x="146" y="226"/>
                </a:lnTo>
                <a:close/>
                <a:moveTo>
                  <a:pt x="989" y="717"/>
                </a:moveTo>
                <a:cubicBezTo>
                  <a:pt x="977" y="711"/>
                  <a:pt x="977" y="711"/>
                  <a:pt x="977" y="711"/>
                </a:cubicBezTo>
                <a:cubicBezTo>
                  <a:pt x="296" y="711"/>
                  <a:pt x="296" y="711"/>
                  <a:pt x="296" y="711"/>
                </a:cubicBezTo>
                <a:cubicBezTo>
                  <a:pt x="283" y="716"/>
                  <a:pt x="283" y="716"/>
                  <a:pt x="283" y="716"/>
                </a:cubicBezTo>
                <a:cubicBezTo>
                  <a:pt x="278" y="729"/>
                  <a:pt x="278" y="729"/>
                  <a:pt x="278" y="729"/>
                </a:cubicBezTo>
                <a:cubicBezTo>
                  <a:pt x="278" y="837"/>
                  <a:pt x="278" y="837"/>
                  <a:pt x="278" y="837"/>
                </a:cubicBezTo>
                <a:cubicBezTo>
                  <a:pt x="283" y="849"/>
                  <a:pt x="283" y="849"/>
                  <a:pt x="283" y="849"/>
                </a:cubicBezTo>
                <a:cubicBezTo>
                  <a:pt x="296" y="855"/>
                  <a:pt x="296" y="855"/>
                  <a:pt x="296" y="855"/>
                </a:cubicBezTo>
                <a:cubicBezTo>
                  <a:pt x="977" y="855"/>
                  <a:pt x="977" y="855"/>
                  <a:pt x="977" y="855"/>
                </a:cubicBezTo>
                <a:cubicBezTo>
                  <a:pt x="989" y="849"/>
                  <a:pt x="989" y="849"/>
                  <a:pt x="989" y="849"/>
                </a:cubicBezTo>
                <a:cubicBezTo>
                  <a:pt x="995" y="837"/>
                  <a:pt x="995" y="837"/>
                  <a:pt x="995" y="837"/>
                </a:cubicBezTo>
                <a:cubicBezTo>
                  <a:pt x="995" y="729"/>
                  <a:pt x="995" y="729"/>
                  <a:pt x="995" y="729"/>
                </a:cubicBezTo>
                <a:lnTo>
                  <a:pt x="989" y="717"/>
                </a:lnTo>
                <a:close/>
                <a:moveTo>
                  <a:pt x="147" y="550"/>
                </a:moveTo>
                <a:cubicBezTo>
                  <a:pt x="147" y="584"/>
                  <a:pt x="147" y="584"/>
                  <a:pt x="147" y="584"/>
                </a:cubicBezTo>
                <a:cubicBezTo>
                  <a:pt x="76" y="584"/>
                  <a:pt x="76" y="584"/>
                  <a:pt x="76" y="584"/>
                </a:cubicBezTo>
                <a:cubicBezTo>
                  <a:pt x="76" y="575"/>
                  <a:pt x="83" y="565"/>
                  <a:pt x="96" y="555"/>
                </a:cubicBezTo>
                <a:cubicBezTo>
                  <a:pt x="109" y="544"/>
                  <a:pt x="123" y="535"/>
                  <a:pt x="138" y="526"/>
                </a:cubicBezTo>
                <a:cubicBezTo>
                  <a:pt x="153" y="518"/>
                  <a:pt x="167" y="506"/>
                  <a:pt x="180" y="490"/>
                </a:cubicBezTo>
                <a:cubicBezTo>
                  <a:pt x="193" y="475"/>
                  <a:pt x="199" y="458"/>
                  <a:pt x="199" y="439"/>
                </a:cubicBezTo>
                <a:cubicBezTo>
                  <a:pt x="199" y="413"/>
                  <a:pt x="190" y="392"/>
                  <a:pt x="171" y="376"/>
                </a:cubicBezTo>
                <a:cubicBezTo>
                  <a:pt x="152" y="361"/>
                  <a:pt x="129" y="353"/>
                  <a:pt x="102" y="353"/>
                </a:cubicBezTo>
                <a:cubicBezTo>
                  <a:pt x="81" y="353"/>
                  <a:pt x="61" y="358"/>
                  <a:pt x="43" y="369"/>
                </a:cubicBezTo>
                <a:cubicBezTo>
                  <a:pt x="25" y="379"/>
                  <a:pt x="12" y="394"/>
                  <a:pt x="3" y="413"/>
                </a:cubicBezTo>
                <a:cubicBezTo>
                  <a:pt x="51" y="446"/>
                  <a:pt x="51" y="446"/>
                  <a:pt x="51" y="446"/>
                </a:cubicBezTo>
                <a:cubicBezTo>
                  <a:pt x="64" y="425"/>
                  <a:pt x="79" y="414"/>
                  <a:pt x="96" y="414"/>
                </a:cubicBezTo>
                <a:cubicBezTo>
                  <a:pt x="105" y="414"/>
                  <a:pt x="113" y="416"/>
                  <a:pt x="118" y="421"/>
                </a:cubicBezTo>
                <a:cubicBezTo>
                  <a:pt x="124" y="426"/>
                  <a:pt x="126" y="434"/>
                  <a:pt x="126" y="443"/>
                </a:cubicBezTo>
                <a:cubicBezTo>
                  <a:pt x="126" y="452"/>
                  <a:pt x="122" y="460"/>
                  <a:pt x="113" y="468"/>
                </a:cubicBezTo>
                <a:cubicBezTo>
                  <a:pt x="104" y="476"/>
                  <a:pt x="94" y="484"/>
                  <a:pt x="81" y="493"/>
                </a:cubicBezTo>
                <a:cubicBezTo>
                  <a:pt x="69" y="501"/>
                  <a:pt x="57" y="509"/>
                  <a:pt x="45" y="519"/>
                </a:cubicBezTo>
                <a:cubicBezTo>
                  <a:pt x="32" y="529"/>
                  <a:pt x="22" y="542"/>
                  <a:pt x="13" y="557"/>
                </a:cubicBezTo>
                <a:cubicBezTo>
                  <a:pt x="4" y="573"/>
                  <a:pt x="0" y="590"/>
                  <a:pt x="0" y="609"/>
                </a:cubicBezTo>
                <a:cubicBezTo>
                  <a:pt x="0" y="616"/>
                  <a:pt x="1" y="626"/>
                  <a:pt x="3" y="640"/>
                </a:cubicBezTo>
                <a:cubicBezTo>
                  <a:pt x="206" y="640"/>
                  <a:pt x="206" y="640"/>
                  <a:pt x="206" y="640"/>
                </a:cubicBezTo>
                <a:cubicBezTo>
                  <a:pt x="206" y="550"/>
                  <a:pt x="206" y="550"/>
                  <a:pt x="206" y="550"/>
                </a:cubicBezTo>
                <a:lnTo>
                  <a:pt x="147" y="550"/>
                </a:lnTo>
                <a:close/>
                <a:moveTo>
                  <a:pt x="188" y="852"/>
                </a:moveTo>
                <a:cubicBezTo>
                  <a:pt x="177" y="839"/>
                  <a:pt x="162" y="829"/>
                  <a:pt x="142" y="825"/>
                </a:cubicBezTo>
                <a:cubicBezTo>
                  <a:pt x="196" y="760"/>
                  <a:pt x="196" y="760"/>
                  <a:pt x="196" y="760"/>
                </a:cubicBezTo>
                <a:cubicBezTo>
                  <a:pt x="196" y="711"/>
                  <a:pt x="196" y="711"/>
                  <a:pt x="196" y="711"/>
                </a:cubicBezTo>
                <a:cubicBezTo>
                  <a:pt x="9" y="711"/>
                  <a:pt x="9" y="711"/>
                  <a:pt x="9" y="711"/>
                </a:cubicBezTo>
                <a:cubicBezTo>
                  <a:pt x="9" y="796"/>
                  <a:pt x="9" y="796"/>
                  <a:pt x="9" y="796"/>
                </a:cubicBezTo>
                <a:cubicBezTo>
                  <a:pt x="69" y="796"/>
                  <a:pt x="69" y="796"/>
                  <a:pt x="69" y="796"/>
                </a:cubicBezTo>
                <a:cubicBezTo>
                  <a:pt x="69" y="767"/>
                  <a:pt x="69" y="767"/>
                  <a:pt x="69" y="767"/>
                </a:cubicBezTo>
                <a:cubicBezTo>
                  <a:pt x="75" y="767"/>
                  <a:pt x="84" y="766"/>
                  <a:pt x="96" y="766"/>
                </a:cubicBezTo>
                <a:cubicBezTo>
                  <a:pt x="108" y="766"/>
                  <a:pt x="117" y="765"/>
                  <a:pt x="123" y="765"/>
                </a:cubicBezTo>
                <a:cubicBezTo>
                  <a:pt x="123" y="766"/>
                  <a:pt x="123" y="766"/>
                  <a:pt x="123" y="766"/>
                </a:cubicBezTo>
                <a:cubicBezTo>
                  <a:pt x="102" y="788"/>
                  <a:pt x="102" y="788"/>
                  <a:pt x="102" y="788"/>
                </a:cubicBezTo>
                <a:cubicBezTo>
                  <a:pt x="95" y="795"/>
                  <a:pt x="88" y="805"/>
                  <a:pt x="78" y="818"/>
                </a:cubicBezTo>
                <a:cubicBezTo>
                  <a:pt x="69" y="830"/>
                  <a:pt x="63" y="839"/>
                  <a:pt x="60" y="842"/>
                </a:cubicBezTo>
                <a:cubicBezTo>
                  <a:pt x="75" y="874"/>
                  <a:pt x="75" y="874"/>
                  <a:pt x="75" y="874"/>
                </a:cubicBezTo>
                <a:cubicBezTo>
                  <a:pt x="114" y="870"/>
                  <a:pt x="134" y="881"/>
                  <a:pt x="134" y="905"/>
                </a:cubicBezTo>
                <a:cubicBezTo>
                  <a:pt x="134" y="915"/>
                  <a:pt x="130" y="923"/>
                  <a:pt x="121" y="929"/>
                </a:cubicBezTo>
                <a:cubicBezTo>
                  <a:pt x="113" y="934"/>
                  <a:pt x="104" y="937"/>
                  <a:pt x="93" y="937"/>
                </a:cubicBezTo>
                <a:cubicBezTo>
                  <a:pt x="72" y="937"/>
                  <a:pt x="52" y="928"/>
                  <a:pt x="34" y="912"/>
                </a:cubicBezTo>
                <a:cubicBezTo>
                  <a:pt x="2" y="961"/>
                  <a:pt x="2" y="961"/>
                  <a:pt x="2" y="961"/>
                </a:cubicBezTo>
                <a:cubicBezTo>
                  <a:pt x="27" y="986"/>
                  <a:pt x="59" y="998"/>
                  <a:pt x="98" y="998"/>
                </a:cubicBezTo>
                <a:cubicBezTo>
                  <a:pt x="129" y="998"/>
                  <a:pt x="154" y="989"/>
                  <a:pt x="174" y="972"/>
                </a:cubicBezTo>
                <a:cubicBezTo>
                  <a:pt x="195" y="955"/>
                  <a:pt x="205" y="931"/>
                  <a:pt x="205" y="902"/>
                </a:cubicBezTo>
                <a:cubicBezTo>
                  <a:pt x="205" y="883"/>
                  <a:pt x="199" y="866"/>
                  <a:pt x="188" y="852"/>
                </a:cubicBez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29" name="Freeform 28" descr="File Icon"/>
          <p:cNvSpPr>
            <a:spLocks noEditPoints="1"/>
          </p:cNvSpPr>
          <p:nvPr/>
        </p:nvSpPr>
        <p:spPr bwMode="auto">
          <a:xfrm>
            <a:off x="612009" y="4052210"/>
            <a:ext cx="537661" cy="630238"/>
          </a:xfrm>
          <a:custGeom>
            <a:avLst/>
            <a:gdLst>
              <a:gd name="T0" fmla="*/ 8 w 105"/>
              <a:gd name="T1" fmla="*/ 114 h 123"/>
              <a:gd name="T2" fmla="*/ 8 w 105"/>
              <a:gd name="T3" fmla="*/ 9 h 123"/>
              <a:gd name="T4" fmla="*/ 61 w 105"/>
              <a:gd name="T5" fmla="*/ 9 h 123"/>
              <a:gd name="T6" fmla="*/ 61 w 105"/>
              <a:gd name="T7" fmla="*/ 37 h 123"/>
              <a:gd name="T8" fmla="*/ 63 w 105"/>
              <a:gd name="T9" fmla="*/ 42 h 123"/>
              <a:gd name="T10" fmla="*/ 68 w 105"/>
              <a:gd name="T11" fmla="*/ 44 h 123"/>
              <a:gd name="T12" fmla="*/ 96 w 105"/>
              <a:gd name="T13" fmla="*/ 44 h 123"/>
              <a:gd name="T14" fmla="*/ 96 w 105"/>
              <a:gd name="T15" fmla="*/ 114 h 123"/>
              <a:gd name="T16" fmla="*/ 8 w 105"/>
              <a:gd name="T17" fmla="*/ 114 h 123"/>
              <a:gd name="T18" fmla="*/ 73 w 105"/>
              <a:gd name="T19" fmla="*/ 11 h 123"/>
              <a:gd name="T20" fmla="*/ 94 w 105"/>
              <a:gd name="T21" fmla="*/ 32 h 123"/>
              <a:gd name="T22" fmla="*/ 96 w 105"/>
              <a:gd name="T23" fmla="*/ 35 h 123"/>
              <a:gd name="T24" fmla="*/ 70 w 105"/>
              <a:gd name="T25" fmla="*/ 35 h 123"/>
              <a:gd name="T26" fmla="*/ 70 w 105"/>
              <a:gd name="T27" fmla="*/ 9 h 123"/>
              <a:gd name="T28" fmla="*/ 73 w 105"/>
              <a:gd name="T29" fmla="*/ 11 h 123"/>
              <a:gd name="T30" fmla="*/ 79 w 105"/>
              <a:gd name="T31" fmla="*/ 5 h 123"/>
              <a:gd name="T32" fmla="*/ 74 w 105"/>
              <a:gd name="T33" fmla="*/ 1 h 123"/>
              <a:gd name="T34" fmla="*/ 68 w 105"/>
              <a:gd name="T35" fmla="*/ 0 h 123"/>
              <a:gd name="T36" fmla="*/ 6 w 105"/>
              <a:gd name="T37" fmla="*/ 0 h 123"/>
              <a:gd name="T38" fmla="*/ 1 w 105"/>
              <a:gd name="T39" fmla="*/ 2 h 123"/>
              <a:gd name="T40" fmla="*/ 0 w 105"/>
              <a:gd name="T41" fmla="*/ 7 h 123"/>
              <a:gd name="T42" fmla="*/ 0 w 105"/>
              <a:gd name="T43" fmla="*/ 116 h 123"/>
              <a:gd name="T44" fmla="*/ 1 w 105"/>
              <a:gd name="T45" fmla="*/ 121 h 123"/>
              <a:gd name="T46" fmla="*/ 6 w 105"/>
              <a:gd name="T47" fmla="*/ 123 h 123"/>
              <a:gd name="T48" fmla="*/ 98 w 105"/>
              <a:gd name="T49" fmla="*/ 123 h 123"/>
              <a:gd name="T50" fmla="*/ 103 w 105"/>
              <a:gd name="T51" fmla="*/ 121 h 123"/>
              <a:gd name="T52" fmla="*/ 105 w 105"/>
              <a:gd name="T53" fmla="*/ 116 h 123"/>
              <a:gd name="T54" fmla="*/ 105 w 105"/>
              <a:gd name="T55" fmla="*/ 37 h 123"/>
              <a:gd name="T56" fmla="*/ 104 w 105"/>
              <a:gd name="T57" fmla="*/ 31 h 123"/>
              <a:gd name="T58" fmla="*/ 100 w 105"/>
              <a:gd name="T59" fmla="*/ 26 h 123"/>
              <a:gd name="T60" fmla="*/ 79 w 105"/>
              <a:gd name="T61" fmla="*/ 5 h 1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5" h="123">
                <a:moveTo>
                  <a:pt x="8" y="114"/>
                </a:moveTo>
                <a:cubicBezTo>
                  <a:pt x="8" y="9"/>
                  <a:pt x="8" y="9"/>
                  <a:pt x="8" y="9"/>
                </a:cubicBezTo>
                <a:cubicBezTo>
                  <a:pt x="61" y="9"/>
                  <a:pt x="61" y="9"/>
                  <a:pt x="61" y="9"/>
                </a:cubicBezTo>
                <a:cubicBezTo>
                  <a:pt x="61" y="37"/>
                  <a:pt x="61" y="37"/>
                  <a:pt x="61" y="37"/>
                </a:cubicBezTo>
                <a:cubicBezTo>
                  <a:pt x="61" y="39"/>
                  <a:pt x="62" y="41"/>
                  <a:pt x="63" y="42"/>
                </a:cubicBezTo>
                <a:cubicBezTo>
                  <a:pt x="64" y="43"/>
                  <a:pt x="66" y="44"/>
                  <a:pt x="68" y="44"/>
                </a:cubicBezTo>
                <a:cubicBezTo>
                  <a:pt x="96" y="44"/>
                  <a:pt x="96" y="44"/>
                  <a:pt x="96" y="44"/>
                </a:cubicBezTo>
                <a:cubicBezTo>
                  <a:pt x="96" y="114"/>
                  <a:pt x="96" y="114"/>
                  <a:pt x="96" y="114"/>
                </a:cubicBezTo>
                <a:lnTo>
                  <a:pt x="8" y="114"/>
                </a:lnTo>
                <a:close/>
                <a:moveTo>
                  <a:pt x="73" y="11"/>
                </a:moveTo>
                <a:cubicBezTo>
                  <a:pt x="94" y="32"/>
                  <a:pt x="94" y="32"/>
                  <a:pt x="94" y="32"/>
                </a:cubicBezTo>
                <a:cubicBezTo>
                  <a:pt x="95" y="33"/>
                  <a:pt x="95" y="34"/>
                  <a:pt x="96" y="35"/>
                </a:cubicBezTo>
                <a:cubicBezTo>
                  <a:pt x="70" y="35"/>
                  <a:pt x="70" y="35"/>
                  <a:pt x="70" y="35"/>
                </a:cubicBezTo>
                <a:cubicBezTo>
                  <a:pt x="70" y="9"/>
                  <a:pt x="70" y="9"/>
                  <a:pt x="70" y="9"/>
                </a:cubicBezTo>
                <a:cubicBezTo>
                  <a:pt x="71" y="10"/>
                  <a:pt x="72" y="10"/>
                  <a:pt x="73" y="11"/>
                </a:cubicBezTo>
                <a:close/>
                <a:moveTo>
                  <a:pt x="79" y="5"/>
                </a:moveTo>
                <a:cubicBezTo>
                  <a:pt x="78" y="3"/>
                  <a:pt x="76" y="2"/>
                  <a:pt x="74" y="1"/>
                </a:cubicBezTo>
                <a:cubicBezTo>
                  <a:pt x="71" y="0"/>
                  <a:pt x="69" y="0"/>
                  <a:pt x="68" y="0"/>
                </a:cubicBezTo>
                <a:cubicBezTo>
                  <a:pt x="6" y="0"/>
                  <a:pt x="6" y="0"/>
                  <a:pt x="6" y="0"/>
                </a:cubicBezTo>
                <a:cubicBezTo>
                  <a:pt x="4" y="0"/>
                  <a:pt x="3" y="1"/>
                  <a:pt x="1" y="2"/>
                </a:cubicBezTo>
                <a:cubicBezTo>
                  <a:pt x="0" y="3"/>
                  <a:pt x="0" y="5"/>
                  <a:pt x="0" y="7"/>
                </a:cubicBezTo>
                <a:cubicBezTo>
                  <a:pt x="0" y="116"/>
                  <a:pt x="0" y="116"/>
                  <a:pt x="0" y="116"/>
                </a:cubicBezTo>
                <a:cubicBezTo>
                  <a:pt x="0" y="118"/>
                  <a:pt x="0" y="120"/>
                  <a:pt x="1" y="121"/>
                </a:cubicBezTo>
                <a:cubicBezTo>
                  <a:pt x="3" y="122"/>
                  <a:pt x="4" y="123"/>
                  <a:pt x="6" y="123"/>
                </a:cubicBezTo>
                <a:cubicBezTo>
                  <a:pt x="98" y="123"/>
                  <a:pt x="98" y="123"/>
                  <a:pt x="98" y="123"/>
                </a:cubicBezTo>
                <a:cubicBezTo>
                  <a:pt x="100" y="123"/>
                  <a:pt x="102" y="122"/>
                  <a:pt x="103" y="121"/>
                </a:cubicBezTo>
                <a:cubicBezTo>
                  <a:pt x="104" y="120"/>
                  <a:pt x="105" y="118"/>
                  <a:pt x="105" y="116"/>
                </a:cubicBezTo>
                <a:cubicBezTo>
                  <a:pt x="105" y="37"/>
                  <a:pt x="105" y="37"/>
                  <a:pt x="105" y="37"/>
                </a:cubicBezTo>
                <a:cubicBezTo>
                  <a:pt x="105" y="35"/>
                  <a:pt x="105" y="33"/>
                  <a:pt x="104" y="31"/>
                </a:cubicBezTo>
                <a:cubicBezTo>
                  <a:pt x="103" y="29"/>
                  <a:pt x="102" y="27"/>
                  <a:pt x="100" y="26"/>
                </a:cubicBezTo>
                <a:lnTo>
                  <a:pt x="79" y="5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30" name="Freeform 29" descr="Browser Icon"/>
          <p:cNvSpPr>
            <a:spLocks noEditPoints="1"/>
          </p:cNvSpPr>
          <p:nvPr/>
        </p:nvSpPr>
        <p:spPr bwMode="auto">
          <a:xfrm>
            <a:off x="612009" y="5170357"/>
            <a:ext cx="571500" cy="477823"/>
          </a:xfrm>
          <a:custGeom>
            <a:avLst/>
            <a:gdLst>
              <a:gd name="T0" fmla="*/ 9031 w 25287"/>
              <a:gd name="T1" fmla="*/ 1806 h 21675"/>
              <a:gd name="T2" fmla="*/ 10837 w 25287"/>
              <a:gd name="T3" fmla="*/ 1806 h 21675"/>
              <a:gd name="T4" fmla="*/ 10837 w 25287"/>
              <a:gd name="T5" fmla="*/ 3612 h 21675"/>
              <a:gd name="T6" fmla="*/ 9031 w 25287"/>
              <a:gd name="T7" fmla="*/ 3612 h 21675"/>
              <a:gd name="T8" fmla="*/ 9031 w 25287"/>
              <a:gd name="T9" fmla="*/ 1806 h 21675"/>
              <a:gd name="T10" fmla="*/ 5419 w 25287"/>
              <a:gd name="T11" fmla="*/ 1806 h 21675"/>
              <a:gd name="T12" fmla="*/ 7225 w 25287"/>
              <a:gd name="T13" fmla="*/ 1806 h 21675"/>
              <a:gd name="T14" fmla="*/ 7225 w 25287"/>
              <a:gd name="T15" fmla="*/ 3612 h 21675"/>
              <a:gd name="T16" fmla="*/ 5419 w 25287"/>
              <a:gd name="T17" fmla="*/ 3612 h 21675"/>
              <a:gd name="T18" fmla="*/ 5419 w 25287"/>
              <a:gd name="T19" fmla="*/ 1806 h 21675"/>
              <a:gd name="T20" fmla="*/ 1806 w 25287"/>
              <a:gd name="T21" fmla="*/ 1806 h 21675"/>
              <a:gd name="T22" fmla="*/ 3612 w 25287"/>
              <a:gd name="T23" fmla="*/ 1806 h 21675"/>
              <a:gd name="T24" fmla="*/ 3612 w 25287"/>
              <a:gd name="T25" fmla="*/ 3612 h 21675"/>
              <a:gd name="T26" fmla="*/ 1806 w 25287"/>
              <a:gd name="T27" fmla="*/ 3612 h 21675"/>
              <a:gd name="T28" fmla="*/ 1806 w 25287"/>
              <a:gd name="T29" fmla="*/ 1806 h 21675"/>
              <a:gd name="T30" fmla="*/ 23481 w 25287"/>
              <a:gd name="T31" fmla="*/ 19868 h 21675"/>
              <a:gd name="T32" fmla="*/ 1806 w 25287"/>
              <a:gd name="T33" fmla="*/ 19868 h 21675"/>
              <a:gd name="T34" fmla="*/ 1806 w 25287"/>
              <a:gd name="T35" fmla="*/ 5419 h 21675"/>
              <a:gd name="T36" fmla="*/ 23481 w 25287"/>
              <a:gd name="T37" fmla="*/ 5419 h 21675"/>
              <a:gd name="T38" fmla="*/ 23481 w 25287"/>
              <a:gd name="T39" fmla="*/ 19868 h 21675"/>
              <a:gd name="T40" fmla="*/ 23481 w 25287"/>
              <a:gd name="T41" fmla="*/ 3612 h 21675"/>
              <a:gd name="T42" fmla="*/ 12644 w 25287"/>
              <a:gd name="T43" fmla="*/ 3612 h 21675"/>
              <a:gd name="T44" fmla="*/ 12644 w 25287"/>
              <a:gd name="T45" fmla="*/ 1806 h 21675"/>
              <a:gd name="T46" fmla="*/ 23481 w 25287"/>
              <a:gd name="T47" fmla="*/ 1806 h 21675"/>
              <a:gd name="T48" fmla="*/ 23481 w 25287"/>
              <a:gd name="T49" fmla="*/ 3612 h 21675"/>
              <a:gd name="T50" fmla="*/ 25287 w 25287"/>
              <a:gd name="T51" fmla="*/ 1806 h 21675"/>
              <a:gd name="T52" fmla="*/ 23481 w 25287"/>
              <a:gd name="T53" fmla="*/ 0 h 21675"/>
              <a:gd name="T54" fmla="*/ 1806 w 25287"/>
              <a:gd name="T55" fmla="*/ 0 h 21675"/>
              <a:gd name="T56" fmla="*/ 0 w 25287"/>
              <a:gd name="T57" fmla="*/ 1806 h 21675"/>
              <a:gd name="T58" fmla="*/ 0 w 25287"/>
              <a:gd name="T59" fmla="*/ 19868 h 21675"/>
              <a:gd name="T60" fmla="*/ 1806 w 25287"/>
              <a:gd name="T61" fmla="*/ 21675 h 21675"/>
              <a:gd name="T62" fmla="*/ 23481 w 25287"/>
              <a:gd name="T63" fmla="*/ 21675 h 21675"/>
              <a:gd name="T64" fmla="*/ 25287 w 25287"/>
              <a:gd name="T65" fmla="*/ 19868 h 21675"/>
              <a:gd name="T66" fmla="*/ 25287 w 25287"/>
              <a:gd name="T67" fmla="*/ 1806 h 2167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5287" h="21675">
                <a:moveTo>
                  <a:pt x="9031" y="1806"/>
                </a:moveTo>
                <a:lnTo>
                  <a:pt x="10837" y="1806"/>
                </a:lnTo>
                <a:lnTo>
                  <a:pt x="10837" y="3612"/>
                </a:lnTo>
                <a:lnTo>
                  <a:pt x="9031" y="3612"/>
                </a:lnTo>
                <a:lnTo>
                  <a:pt x="9031" y="1806"/>
                </a:lnTo>
                <a:close/>
                <a:moveTo>
                  <a:pt x="5419" y="1806"/>
                </a:moveTo>
                <a:lnTo>
                  <a:pt x="7225" y="1806"/>
                </a:lnTo>
                <a:lnTo>
                  <a:pt x="7225" y="3612"/>
                </a:lnTo>
                <a:lnTo>
                  <a:pt x="5419" y="3612"/>
                </a:lnTo>
                <a:lnTo>
                  <a:pt x="5419" y="1806"/>
                </a:lnTo>
                <a:close/>
                <a:moveTo>
                  <a:pt x="1806" y="1806"/>
                </a:moveTo>
                <a:lnTo>
                  <a:pt x="3612" y="1806"/>
                </a:lnTo>
                <a:lnTo>
                  <a:pt x="3612" y="3612"/>
                </a:lnTo>
                <a:lnTo>
                  <a:pt x="1806" y="3612"/>
                </a:lnTo>
                <a:lnTo>
                  <a:pt x="1806" y="1806"/>
                </a:lnTo>
                <a:close/>
                <a:moveTo>
                  <a:pt x="23481" y="19868"/>
                </a:moveTo>
                <a:lnTo>
                  <a:pt x="1806" y="19868"/>
                </a:lnTo>
                <a:lnTo>
                  <a:pt x="1806" y="5419"/>
                </a:lnTo>
                <a:lnTo>
                  <a:pt x="23481" y="5419"/>
                </a:lnTo>
                <a:lnTo>
                  <a:pt x="23481" y="19868"/>
                </a:lnTo>
                <a:close/>
                <a:moveTo>
                  <a:pt x="23481" y="3612"/>
                </a:moveTo>
                <a:lnTo>
                  <a:pt x="12644" y="3612"/>
                </a:lnTo>
                <a:lnTo>
                  <a:pt x="12644" y="1806"/>
                </a:lnTo>
                <a:lnTo>
                  <a:pt x="23481" y="1806"/>
                </a:lnTo>
                <a:lnTo>
                  <a:pt x="23481" y="3612"/>
                </a:lnTo>
                <a:close/>
                <a:moveTo>
                  <a:pt x="25287" y="1806"/>
                </a:moveTo>
                <a:cubicBezTo>
                  <a:pt x="25287" y="808"/>
                  <a:pt x="24479" y="0"/>
                  <a:pt x="23481" y="0"/>
                </a:cubicBezTo>
                <a:lnTo>
                  <a:pt x="1806" y="0"/>
                </a:lnTo>
                <a:cubicBezTo>
                  <a:pt x="809" y="0"/>
                  <a:pt x="0" y="808"/>
                  <a:pt x="0" y="1806"/>
                </a:cubicBezTo>
                <a:lnTo>
                  <a:pt x="0" y="19868"/>
                </a:lnTo>
                <a:cubicBezTo>
                  <a:pt x="0" y="20866"/>
                  <a:pt x="809" y="21675"/>
                  <a:pt x="1806" y="21675"/>
                </a:cubicBezTo>
                <a:lnTo>
                  <a:pt x="23481" y="21675"/>
                </a:lnTo>
                <a:cubicBezTo>
                  <a:pt x="24479" y="21675"/>
                  <a:pt x="25287" y="20866"/>
                  <a:pt x="25287" y="19868"/>
                </a:cubicBezTo>
                <a:lnTo>
                  <a:pt x="25287" y="1806"/>
                </a:lnTo>
                <a:close/>
              </a:path>
            </a:pathLst>
          </a:custGeom>
          <a:solidFill>
            <a:srgbClr val="999999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14" name="TextBox 13"/>
          <p:cNvSpPr txBox="1"/>
          <p:nvPr/>
        </p:nvSpPr>
        <p:spPr>
          <a:xfrm>
            <a:off x="8642942" y="1549550"/>
            <a:ext cx="18027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Tools you create:</a:t>
            </a:r>
          </a:p>
        </p:txBody>
      </p:sp>
      <p:sp>
        <p:nvSpPr>
          <p:cNvPr id="24" name="Freeform 23" descr="Tasks Icon"/>
          <p:cNvSpPr>
            <a:spLocks noEditPoints="1"/>
          </p:cNvSpPr>
          <p:nvPr/>
        </p:nvSpPr>
        <p:spPr bwMode="auto">
          <a:xfrm>
            <a:off x="8752220" y="2017325"/>
            <a:ext cx="571500" cy="449994"/>
          </a:xfrm>
          <a:custGeom>
            <a:avLst/>
            <a:gdLst>
              <a:gd name="T0" fmla="*/ 400 w 404"/>
              <a:gd name="T1" fmla="*/ 4 h 318"/>
              <a:gd name="T2" fmla="*/ 390 w 404"/>
              <a:gd name="T3" fmla="*/ 0 h 318"/>
              <a:gd name="T4" fmla="*/ 14 w 404"/>
              <a:gd name="T5" fmla="*/ 0 h 318"/>
              <a:gd name="T6" fmla="*/ 4 w 404"/>
              <a:gd name="T7" fmla="*/ 4 h 318"/>
              <a:gd name="T8" fmla="*/ 0 w 404"/>
              <a:gd name="T9" fmla="*/ 15 h 318"/>
              <a:gd name="T10" fmla="*/ 0 w 404"/>
              <a:gd name="T11" fmla="*/ 72 h 318"/>
              <a:gd name="T12" fmla="*/ 4 w 404"/>
              <a:gd name="T13" fmla="*/ 82 h 318"/>
              <a:gd name="T14" fmla="*/ 14 w 404"/>
              <a:gd name="T15" fmla="*/ 87 h 318"/>
              <a:gd name="T16" fmla="*/ 390 w 404"/>
              <a:gd name="T17" fmla="*/ 87 h 318"/>
              <a:gd name="T18" fmla="*/ 400 w 404"/>
              <a:gd name="T19" fmla="*/ 82 h 318"/>
              <a:gd name="T20" fmla="*/ 404 w 404"/>
              <a:gd name="T21" fmla="*/ 72 h 318"/>
              <a:gd name="T22" fmla="*/ 404 w 404"/>
              <a:gd name="T23" fmla="*/ 15 h 318"/>
              <a:gd name="T24" fmla="*/ 400 w 404"/>
              <a:gd name="T25" fmla="*/ 4 h 318"/>
              <a:gd name="T26" fmla="*/ 400 w 404"/>
              <a:gd name="T27" fmla="*/ 120 h 318"/>
              <a:gd name="T28" fmla="*/ 390 w 404"/>
              <a:gd name="T29" fmla="*/ 116 h 318"/>
              <a:gd name="T30" fmla="*/ 14 w 404"/>
              <a:gd name="T31" fmla="*/ 116 h 318"/>
              <a:gd name="T32" fmla="*/ 4 w 404"/>
              <a:gd name="T33" fmla="*/ 120 h 318"/>
              <a:gd name="T34" fmla="*/ 0 w 404"/>
              <a:gd name="T35" fmla="*/ 130 h 318"/>
              <a:gd name="T36" fmla="*/ 0 w 404"/>
              <a:gd name="T37" fmla="*/ 188 h 318"/>
              <a:gd name="T38" fmla="*/ 4 w 404"/>
              <a:gd name="T39" fmla="*/ 198 h 318"/>
              <a:gd name="T40" fmla="*/ 14 w 404"/>
              <a:gd name="T41" fmla="*/ 202 h 318"/>
              <a:gd name="T42" fmla="*/ 390 w 404"/>
              <a:gd name="T43" fmla="*/ 202 h 318"/>
              <a:gd name="T44" fmla="*/ 400 w 404"/>
              <a:gd name="T45" fmla="*/ 198 h 318"/>
              <a:gd name="T46" fmla="*/ 404 w 404"/>
              <a:gd name="T47" fmla="*/ 188 h 318"/>
              <a:gd name="T48" fmla="*/ 404 w 404"/>
              <a:gd name="T49" fmla="*/ 130 h 318"/>
              <a:gd name="T50" fmla="*/ 400 w 404"/>
              <a:gd name="T51" fmla="*/ 120 h 318"/>
              <a:gd name="T52" fmla="*/ 400 w 404"/>
              <a:gd name="T53" fmla="*/ 235 h 318"/>
              <a:gd name="T54" fmla="*/ 390 w 404"/>
              <a:gd name="T55" fmla="*/ 231 h 318"/>
              <a:gd name="T56" fmla="*/ 14 w 404"/>
              <a:gd name="T57" fmla="*/ 231 h 318"/>
              <a:gd name="T58" fmla="*/ 4 w 404"/>
              <a:gd name="T59" fmla="*/ 235 h 318"/>
              <a:gd name="T60" fmla="*/ 0 w 404"/>
              <a:gd name="T61" fmla="*/ 246 h 318"/>
              <a:gd name="T62" fmla="*/ 0 w 404"/>
              <a:gd name="T63" fmla="*/ 303 h 318"/>
              <a:gd name="T64" fmla="*/ 4 w 404"/>
              <a:gd name="T65" fmla="*/ 313 h 318"/>
              <a:gd name="T66" fmla="*/ 14 w 404"/>
              <a:gd name="T67" fmla="*/ 318 h 318"/>
              <a:gd name="T68" fmla="*/ 390 w 404"/>
              <a:gd name="T69" fmla="*/ 318 h 318"/>
              <a:gd name="T70" fmla="*/ 400 w 404"/>
              <a:gd name="T71" fmla="*/ 313 h 318"/>
              <a:gd name="T72" fmla="*/ 404 w 404"/>
              <a:gd name="T73" fmla="*/ 303 h 318"/>
              <a:gd name="T74" fmla="*/ 404 w 404"/>
              <a:gd name="T75" fmla="*/ 246 h 318"/>
              <a:gd name="T76" fmla="*/ 400 w 404"/>
              <a:gd name="T77" fmla="*/ 235 h 318"/>
              <a:gd name="T78" fmla="*/ 289 w 404"/>
              <a:gd name="T79" fmla="*/ 29 h 318"/>
              <a:gd name="T80" fmla="*/ 375 w 404"/>
              <a:gd name="T81" fmla="*/ 29 h 318"/>
              <a:gd name="T82" fmla="*/ 375 w 404"/>
              <a:gd name="T83" fmla="*/ 58 h 318"/>
              <a:gd name="T84" fmla="*/ 289 w 404"/>
              <a:gd name="T85" fmla="*/ 58 h 318"/>
              <a:gd name="T86" fmla="*/ 289 w 404"/>
              <a:gd name="T87" fmla="*/ 29 h 318"/>
              <a:gd name="T88" fmla="*/ 144 w 404"/>
              <a:gd name="T89" fmla="*/ 145 h 318"/>
              <a:gd name="T90" fmla="*/ 375 w 404"/>
              <a:gd name="T91" fmla="*/ 145 h 318"/>
              <a:gd name="T92" fmla="*/ 375 w 404"/>
              <a:gd name="T93" fmla="*/ 173 h 318"/>
              <a:gd name="T94" fmla="*/ 144 w 404"/>
              <a:gd name="T95" fmla="*/ 173 h 318"/>
              <a:gd name="T96" fmla="*/ 144 w 404"/>
              <a:gd name="T97" fmla="*/ 145 h 318"/>
              <a:gd name="T98" fmla="*/ 231 w 404"/>
              <a:gd name="T99" fmla="*/ 260 h 318"/>
              <a:gd name="T100" fmla="*/ 375 w 404"/>
              <a:gd name="T101" fmla="*/ 260 h 318"/>
              <a:gd name="T102" fmla="*/ 375 w 404"/>
              <a:gd name="T103" fmla="*/ 289 h 318"/>
              <a:gd name="T104" fmla="*/ 231 w 404"/>
              <a:gd name="T105" fmla="*/ 289 h 318"/>
              <a:gd name="T106" fmla="*/ 231 w 404"/>
              <a:gd name="T107" fmla="*/ 260 h 3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404" h="318">
                <a:moveTo>
                  <a:pt x="400" y="4"/>
                </a:moveTo>
                <a:cubicBezTo>
                  <a:pt x="397" y="2"/>
                  <a:pt x="393" y="0"/>
                  <a:pt x="390" y="0"/>
                </a:cubicBezTo>
                <a:cubicBezTo>
                  <a:pt x="14" y="0"/>
                  <a:pt x="14" y="0"/>
                  <a:pt x="14" y="0"/>
                </a:cubicBezTo>
                <a:cubicBezTo>
                  <a:pt x="10" y="0"/>
                  <a:pt x="7" y="2"/>
                  <a:pt x="4" y="4"/>
                </a:cubicBezTo>
                <a:cubicBezTo>
                  <a:pt x="1" y="7"/>
                  <a:pt x="0" y="11"/>
                  <a:pt x="0" y="15"/>
                </a:cubicBezTo>
                <a:cubicBezTo>
                  <a:pt x="0" y="72"/>
                  <a:pt x="0" y="72"/>
                  <a:pt x="0" y="72"/>
                </a:cubicBezTo>
                <a:cubicBezTo>
                  <a:pt x="0" y="76"/>
                  <a:pt x="1" y="80"/>
                  <a:pt x="4" y="82"/>
                </a:cubicBezTo>
                <a:cubicBezTo>
                  <a:pt x="7" y="85"/>
                  <a:pt x="10" y="87"/>
                  <a:pt x="14" y="87"/>
                </a:cubicBezTo>
                <a:cubicBezTo>
                  <a:pt x="390" y="87"/>
                  <a:pt x="390" y="87"/>
                  <a:pt x="390" y="87"/>
                </a:cubicBezTo>
                <a:cubicBezTo>
                  <a:pt x="393" y="87"/>
                  <a:pt x="397" y="85"/>
                  <a:pt x="400" y="82"/>
                </a:cubicBezTo>
                <a:cubicBezTo>
                  <a:pt x="403" y="80"/>
                  <a:pt x="404" y="76"/>
                  <a:pt x="404" y="72"/>
                </a:cubicBezTo>
                <a:cubicBezTo>
                  <a:pt x="404" y="15"/>
                  <a:pt x="404" y="15"/>
                  <a:pt x="404" y="15"/>
                </a:cubicBezTo>
                <a:cubicBezTo>
                  <a:pt x="404" y="11"/>
                  <a:pt x="403" y="7"/>
                  <a:pt x="400" y="4"/>
                </a:cubicBezTo>
                <a:close/>
                <a:moveTo>
                  <a:pt x="400" y="120"/>
                </a:moveTo>
                <a:cubicBezTo>
                  <a:pt x="397" y="117"/>
                  <a:pt x="393" y="116"/>
                  <a:pt x="390" y="116"/>
                </a:cubicBezTo>
                <a:cubicBezTo>
                  <a:pt x="14" y="116"/>
                  <a:pt x="14" y="116"/>
                  <a:pt x="14" y="116"/>
                </a:cubicBezTo>
                <a:cubicBezTo>
                  <a:pt x="10" y="116"/>
                  <a:pt x="7" y="117"/>
                  <a:pt x="4" y="120"/>
                </a:cubicBezTo>
                <a:cubicBezTo>
                  <a:pt x="1" y="123"/>
                  <a:pt x="0" y="126"/>
                  <a:pt x="0" y="130"/>
                </a:cubicBezTo>
                <a:cubicBezTo>
                  <a:pt x="0" y="188"/>
                  <a:pt x="0" y="188"/>
                  <a:pt x="0" y="188"/>
                </a:cubicBezTo>
                <a:cubicBezTo>
                  <a:pt x="0" y="192"/>
                  <a:pt x="1" y="195"/>
                  <a:pt x="4" y="198"/>
                </a:cubicBezTo>
                <a:cubicBezTo>
                  <a:pt x="7" y="201"/>
                  <a:pt x="10" y="202"/>
                  <a:pt x="14" y="202"/>
                </a:cubicBezTo>
                <a:cubicBezTo>
                  <a:pt x="390" y="202"/>
                  <a:pt x="390" y="202"/>
                  <a:pt x="390" y="202"/>
                </a:cubicBezTo>
                <a:cubicBezTo>
                  <a:pt x="393" y="202"/>
                  <a:pt x="397" y="201"/>
                  <a:pt x="400" y="198"/>
                </a:cubicBezTo>
                <a:cubicBezTo>
                  <a:pt x="403" y="195"/>
                  <a:pt x="404" y="192"/>
                  <a:pt x="404" y="188"/>
                </a:cubicBezTo>
                <a:cubicBezTo>
                  <a:pt x="404" y="130"/>
                  <a:pt x="404" y="130"/>
                  <a:pt x="404" y="130"/>
                </a:cubicBezTo>
                <a:cubicBezTo>
                  <a:pt x="404" y="126"/>
                  <a:pt x="403" y="123"/>
                  <a:pt x="400" y="120"/>
                </a:cubicBezTo>
                <a:close/>
                <a:moveTo>
                  <a:pt x="400" y="235"/>
                </a:moveTo>
                <a:cubicBezTo>
                  <a:pt x="397" y="233"/>
                  <a:pt x="393" y="231"/>
                  <a:pt x="390" y="231"/>
                </a:cubicBezTo>
                <a:cubicBezTo>
                  <a:pt x="14" y="231"/>
                  <a:pt x="14" y="231"/>
                  <a:pt x="14" y="231"/>
                </a:cubicBezTo>
                <a:cubicBezTo>
                  <a:pt x="10" y="231"/>
                  <a:pt x="7" y="233"/>
                  <a:pt x="4" y="235"/>
                </a:cubicBezTo>
                <a:cubicBezTo>
                  <a:pt x="1" y="238"/>
                  <a:pt x="0" y="242"/>
                  <a:pt x="0" y="246"/>
                </a:cubicBezTo>
                <a:cubicBezTo>
                  <a:pt x="0" y="303"/>
                  <a:pt x="0" y="303"/>
                  <a:pt x="0" y="303"/>
                </a:cubicBezTo>
                <a:cubicBezTo>
                  <a:pt x="0" y="307"/>
                  <a:pt x="1" y="311"/>
                  <a:pt x="4" y="313"/>
                </a:cubicBezTo>
                <a:cubicBezTo>
                  <a:pt x="7" y="316"/>
                  <a:pt x="10" y="318"/>
                  <a:pt x="14" y="318"/>
                </a:cubicBezTo>
                <a:cubicBezTo>
                  <a:pt x="390" y="318"/>
                  <a:pt x="390" y="318"/>
                  <a:pt x="390" y="318"/>
                </a:cubicBezTo>
                <a:cubicBezTo>
                  <a:pt x="393" y="318"/>
                  <a:pt x="397" y="316"/>
                  <a:pt x="400" y="313"/>
                </a:cubicBezTo>
                <a:cubicBezTo>
                  <a:pt x="403" y="311"/>
                  <a:pt x="404" y="307"/>
                  <a:pt x="404" y="303"/>
                </a:cubicBezTo>
                <a:cubicBezTo>
                  <a:pt x="404" y="246"/>
                  <a:pt x="404" y="246"/>
                  <a:pt x="404" y="246"/>
                </a:cubicBezTo>
                <a:cubicBezTo>
                  <a:pt x="404" y="242"/>
                  <a:pt x="403" y="238"/>
                  <a:pt x="400" y="235"/>
                </a:cubicBezTo>
                <a:close/>
                <a:moveTo>
                  <a:pt x="289" y="29"/>
                </a:moveTo>
                <a:cubicBezTo>
                  <a:pt x="375" y="29"/>
                  <a:pt x="375" y="29"/>
                  <a:pt x="375" y="29"/>
                </a:cubicBezTo>
                <a:cubicBezTo>
                  <a:pt x="375" y="58"/>
                  <a:pt x="375" y="58"/>
                  <a:pt x="375" y="58"/>
                </a:cubicBezTo>
                <a:cubicBezTo>
                  <a:pt x="289" y="58"/>
                  <a:pt x="289" y="58"/>
                  <a:pt x="289" y="58"/>
                </a:cubicBezTo>
                <a:lnTo>
                  <a:pt x="289" y="29"/>
                </a:lnTo>
                <a:close/>
                <a:moveTo>
                  <a:pt x="144" y="145"/>
                </a:moveTo>
                <a:cubicBezTo>
                  <a:pt x="375" y="145"/>
                  <a:pt x="375" y="145"/>
                  <a:pt x="375" y="145"/>
                </a:cubicBezTo>
                <a:cubicBezTo>
                  <a:pt x="375" y="173"/>
                  <a:pt x="375" y="173"/>
                  <a:pt x="375" y="173"/>
                </a:cubicBezTo>
                <a:cubicBezTo>
                  <a:pt x="144" y="173"/>
                  <a:pt x="144" y="173"/>
                  <a:pt x="144" y="173"/>
                </a:cubicBezTo>
                <a:lnTo>
                  <a:pt x="144" y="145"/>
                </a:lnTo>
                <a:close/>
                <a:moveTo>
                  <a:pt x="231" y="260"/>
                </a:moveTo>
                <a:cubicBezTo>
                  <a:pt x="375" y="260"/>
                  <a:pt x="375" y="260"/>
                  <a:pt x="375" y="260"/>
                </a:cubicBezTo>
                <a:cubicBezTo>
                  <a:pt x="375" y="289"/>
                  <a:pt x="375" y="289"/>
                  <a:pt x="375" y="289"/>
                </a:cubicBezTo>
                <a:cubicBezTo>
                  <a:pt x="231" y="289"/>
                  <a:pt x="231" y="289"/>
                  <a:pt x="231" y="289"/>
                </a:cubicBezTo>
                <a:lnTo>
                  <a:pt x="231" y="260"/>
                </a:ln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33" name="TextBox 32"/>
          <p:cNvSpPr txBox="1"/>
          <p:nvPr/>
        </p:nvSpPr>
        <p:spPr>
          <a:xfrm>
            <a:off x="9416296" y="1879635"/>
            <a:ext cx="180278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ponsorship coalition assessment</a:t>
            </a:r>
          </a:p>
        </p:txBody>
      </p:sp>
      <p:sp>
        <p:nvSpPr>
          <p:cNvPr id="18" name="Freeform 17" descr="Sitemap Icon"/>
          <p:cNvSpPr>
            <a:spLocks/>
          </p:cNvSpPr>
          <p:nvPr/>
        </p:nvSpPr>
        <p:spPr bwMode="auto">
          <a:xfrm>
            <a:off x="8752220" y="3053970"/>
            <a:ext cx="571500" cy="490091"/>
          </a:xfrm>
          <a:custGeom>
            <a:avLst/>
            <a:gdLst>
              <a:gd name="T0" fmla="*/ 495 w 523"/>
              <a:gd name="T1" fmla="*/ 299 h 448"/>
              <a:gd name="T2" fmla="*/ 467 w 523"/>
              <a:gd name="T3" fmla="*/ 243 h 448"/>
              <a:gd name="T4" fmla="*/ 429 w 523"/>
              <a:gd name="T5" fmla="*/ 205 h 448"/>
              <a:gd name="T6" fmla="*/ 280 w 523"/>
              <a:gd name="T7" fmla="*/ 150 h 448"/>
              <a:gd name="T8" fmla="*/ 328 w 523"/>
              <a:gd name="T9" fmla="*/ 141 h 448"/>
              <a:gd name="T10" fmla="*/ 336 w 523"/>
              <a:gd name="T11" fmla="*/ 28 h 448"/>
              <a:gd name="T12" fmla="*/ 308 w 523"/>
              <a:gd name="T13" fmla="*/ 0 h 448"/>
              <a:gd name="T14" fmla="*/ 195 w 523"/>
              <a:gd name="T15" fmla="*/ 8 h 448"/>
              <a:gd name="T16" fmla="*/ 187 w 523"/>
              <a:gd name="T17" fmla="*/ 122 h 448"/>
              <a:gd name="T18" fmla="*/ 215 w 523"/>
              <a:gd name="T19" fmla="*/ 150 h 448"/>
              <a:gd name="T20" fmla="*/ 243 w 523"/>
              <a:gd name="T21" fmla="*/ 205 h 448"/>
              <a:gd name="T22" fmla="*/ 67 w 523"/>
              <a:gd name="T23" fmla="*/ 217 h 448"/>
              <a:gd name="T24" fmla="*/ 56 w 523"/>
              <a:gd name="T25" fmla="*/ 299 h 448"/>
              <a:gd name="T26" fmla="*/ 8 w 523"/>
              <a:gd name="T27" fmla="*/ 307 h 448"/>
              <a:gd name="T28" fmla="*/ 0 w 523"/>
              <a:gd name="T29" fmla="*/ 420 h 448"/>
              <a:gd name="T30" fmla="*/ 28 w 523"/>
              <a:gd name="T31" fmla="*/ 448 h 448"/>
              <a:gd name="T32" fmla="*/ 141 w 523"/>
              <a:gd name="T33" fmla="*/ 440 h 448"/>
              <a:gd name="T34" fmla="*/ 149 w 523"/>
              <a:gd name="T35" fmla="*/ 327 h 448"/>
              <a:gd name="T36" fmla="*/ 121 w 523"/>
              <a:gd name="T37" fmla="*/ 299 h 448"/>
              <a:gd name="T38" fmla="*/ 93 w 523"/>
              <a:gd name="T39" fmla="*/ 243 h 448"/>
              <a:gd name="T40" fmla="*/ 243 w 523"/>
              <a:gd name="T41" fmla="*/ 299 h 448"/>
              <a:gd name="T42" fmla="*/ 195 w 523"/>
              <a:gd name="T43" fmla="*/ 307 h 448"/>
              <a:gd name="T44" fmla="*/ 187 w 523"/>
              <a:gd name="T45" fmla="*/ 420 h 448"/>
              <a:gd name="T46" fmla="*/ 215 w 523"/>
              <a:gd name="T47" fmla="*/ 448 h 448"/>
              <a:gd name="T48" fmla="*/ 328 w 523"/>
              <a:gd name="T49" fmla="*/ 440 h 448"/>
              <a:gd name="T50" fmla="*/ 336 w 523"/>
              <a:gd name="T51" fmla="*/ 327 h 448"/>
              <a:gd name="T52" fmla="*/ 308 w 523"/>
              <a:gd name="T53" fmla="*/ 299 h 448"/>
              <a:gd name="T54" fmla="*/ 280 w 523"/>
              <a:gd name="T55" fmla="*/ 243 h 448"/>
              <a:gd name="T56" fmla="*/ 429 w 523"/>
              <a:gd name="T57" fmla="*/ 299 h 448"/>
              <a:gd name="T58" fmla="*/ 381 w 523"/>
              <a:gd name="T59" fmla="*/ 307 h 448"/>
              <a:gd name="T60" fmla="*/ 373 w 523"/>
              <a:gd name="T61" fmla="*/ 420 h 448"/>
              <a:gd name="T62" fmla="*/ 401 w 523"/>
              <a:gd name="T63" fmla="*/ 448 h 448"/>
              <a:gd name="T64" fmla="*/ 514 w 523"/>
              <a:gd name="T65" fmla="*/ 440 h 448"/>
              <a:gd name="T66" fmla="*/ 523 w 523"/>
              <a:gd name="T67" fmla="*/ 327 h 44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523" h="448">
                <a:moveTo>
                  <a:pt x="514" y="307"/>
                </a:moveTo>
                <a:cubicBezTo>
                  <a:pt x="509" y="301"/>
                  <a:pt x="502" y="299"/>
                  <a:pt x="495" y="299"/>
                </a:cubicBezTo>
                <a:cubicBezTo>
                  <a:pt x="467" y="299"/>
                  <a:pt x="467" y="299"/>
                  <a:pt x="467" y="299"/>
                </a:cubicBezTo>
                <a:cubicBezTo>
                  <a:pt x="467" y="243"/>
                  <a:pt x="467" y="243"/>
                  <a:pt x="467" y="243"/>
                </a:cubicBezTo>
                <a:cubicBezTo>
                  <a:pt x="467" y="233"/>
                  <a:pt x="463" y="224"/>
                  <a:pt x="455" y="217"/>
                </a:cubicBezTo>
                <a:cubicBezTo>
                  <a:pt x="448" y="209"/>
                  <a:pt x="439" y="205"/>
                  <a:pt x="429" y="205"/>
                </a:cubicBezTo>
                <a:cubicBezTo>
                  <a:pt x="280" y="205"/>
                  <a:pt x="280" y="205"/>
                  <a:pt x="280" y="205"/>
                </a:cubicBezTo>
                <a:cubicBezTo>
                  <a:pt x="280" y="150"/>
                  <a:pt x="280" y="150"/>
                  <a:pt x="280" y="150"/>
                </a:cubicBezTo>
                <a:cubicBezTo>
                  <a:pt x="308" y="150"/>
                  <a:pt x="308" y="150"/>
                  <a:pt x="308" y="150"/>
                </a:cubicBezTo>
                <a:cubicBezTo>
                  <a:pt x="316" y="150"/>
                  <a:pt x="322" y="147"/>
                  <a:pt x="328" y="141"/>
                </a:cubicBezTo>
                <a:cubicBezTo>
                  <a:pt x="333" y="136"/>
                  <a:pt x="336" y="129"/>
                  <a:pt x="336" y="122"/>
                </a:cubicBezTo>
                <a:cubicBezTo>
                  <a:pt x="336" y="28"/>
                  <a:pt x="336" y="28"/>
                  <a:pt x="336" y="28"/>
                </a:cubicBezTo>
                <a:cubicBezTo>
                  <a:pt x="336" y="21"/>
                  <a:pt x="333" y="14"/>
                  <a:pt x="328" y="8"/>
                </a:cubicBezTo>
                <a:cubicBezTo>
                  <a:pt x="322" y="3"/>
                  <a:pt x="316" y="0"/>
                  <a:pt x="308" y="0"/>
                </a:cubicBezTo>
                <a:cubicBezTo>
                  <a:pt x="215" y="0"/>
                  <a:pt x="215" y="0"/>
                  <a:pt x="215" y="0"/>
                </a:cubicBezTo>
                <a:cubicBezTo>
                  <a:pt x="207" y="0"/>
                  <a:pt x="200" y="3"/>
                  <a:pt x="195" y="8"/>
                </a:cubicBezTo>
                <a:cubicBezTo>
                  <a:pt x="189" y="14"/>
                  <a:pt x="187" y="21"/>
                  <a:pt x="187" y="28"/>
                </a:cubicBezTo>
                <a:cubicBezTo>
                  <a:pt x="187" y="122"/>
                  <a:pt x="187" y="122"/>
                  <a:pt x="187" y="122"/>
                </a:cubicBezTo>
                <a:cubicBezTo>
                  <a:pt x="187" y="129"/>
                  <a:pt x="189" y="136"/>
                  <a:pt x="195" y="141"/>
                </a:cubicBezTo>
                <a:cubicBezTo>
                  <a:pt x="200" y="147"/>
                  <a:pt x="207" y="150"/>
                  <a:pt x="215" y="150"/>
                </a:cubicBezTo>
                <a:cubicBezTo>
                  <a:pt x="243" y="150"/>
                  <a:pt x="243" y="150"/>
                  <a:pt x="243" y="150"/>
                </a:cubicBezTo>
                <a:cubicBezTo>
                  <a:pt x="243" y="205"/>
                  <a:pt x="243" y="205"/>
                  <a:pt x="243" y="205"/>
                </a:cubicBezTo>
                <a:cubicBezTo>
                  <a:pt x="93" y="205"/>
                  <a:pt x="93" y="205"/>
                  <a:pt x="93" y="205"/>
                </a:cubicBezTo>
                <a:cubicBezTo>
                  <a:pt x="83" y="205"/>
                  <a:pt x="75" y="209"/>
                  <a:pt x="67" y="217"/>
                </a:cubicBezTo>
                <a:cubicBezTo>
                  <a:pt x="60" y="224"/>
                  <a:pt x="56" y="233"/>
                  <a:pt x="56" y="243"/>
                </a:cubicBezTo>
                <a:cubicBezTo>
                  <a:pt x="56" y="299"/>
                  <a:pt x="56" y="299"/>
                  <a:pt x="56" y="299"/>
                </a:cubicBezTo>
                <a:cubicBezTo>
                  <a:pt x="28" y="299"/>
                  <a:pt x="28" y="299"/>
                  <a:pt x="28" y="299"/>
                </a:cubicBezTo>
                <a:cubicBezTo>
                  <a:pt x="20" y="299"/>
                  <a:pt x="14" y="301"/>
                  <a:pt x="8" y="307"/>
                </a:cubicBezTo>
                <a:cubicBezTo>
                  <a:pt x="3" y="312"/>
                  <a:pt x="0" y="319"/>
                  <a:pt x="0" y="327"/>
                </a:cubicBezTo>
                <a:cubicBezTo>
                  <a:pt x="0" y="420"/>
                  <a:pt x="0" y="420"/>
                  <a:pt x="0" y="420"/>
                </a:cubicBezTo>
                <a:cubicBezTo>
                  <a:pt x="0" y="428"/>
                  <a:pt x="3" y="434"/>
                  <a:pt x="8" y="440"/>
                </a:cubicBezTo>
                <a:cubicBezTo>
                  <a:pt x="14" y="445"/>
                  <a:pt x="20" y="448"/>
                  <a:pt x="28" y="448"/>
                </a:cubicBezTo>
                <a:cubicBezTo>
                  <a:pt x="121" y="448"/>
                  <a:pt x="121" y="448"/>
                  <a:pt x="121" y="448"/>
                </a:cubicBezTo>
                <a:cubicBezTo>
                  <a:pt x="129" y="448"/>
                  <a:pt x="136" y="445"/>
                  <a:pt x="141" y="440"/>
                </a:cubicBezTo>
                <a:cubicBezTo>
                  <a:pt x="147" y="434"/>
                  <a:pt x="149" y="428"/>
                  <a:pt x="149" y="420"/>
                </a:cubicBezTo>
                <a:cubicBezTo>
                  <a:pt x="149" y="327"/>
                  <a:pt x="149" y="327"/>
                  <a:pt x="149" y="327"/>
                </a:cubicBezTo>
                <a:cubicBezTo>
                  <a:pt x="149" y="319"/>
                  <a:pt x="147" y="312"/>
                  <a:pt x="141" y="307"/>
                </a:cubicBezTo>
                <a:cubicBezTo>
                  <a:pt x="136" y="301"/>
                  <a:pt x="129" y="299"/>
                  <a:pt x="121" y="299"/>
                </a:cubicBezTo>
                <a:cubicBezTo>
                  <a:pt x="93" y="299"/>
                  <a:pt x="93" y="299"/>
                  <a:pt x="93" y="299"/>
                </a:cubicBezTo>
                <a:cubicBezTo>
                  <a:pt x="93" y="243"/>
                  <a:pt x="93" y="243"/>
                  <a:pt x="93" y="243"/>
                </a:cubicBezTo>
                <a:cubicBezTo>
                  <a:pt x="243" y="243"/>
                  <a:pt x="243" y="243"/>
                  <a:pt x="243" y="243"/>
                </a:cubicBezTo>
                <a:cubicBezTo>
                  <a:pt x="243" y="299"/>
                  <a:pt x="243" y="299"/>
                  <a:pt x="243" y="299"/>
                </a:cubicBezTo>
                <a:cubicBezTo>
                  <a:pt x="215" y="299"/>
                  <a:pt x="215" y="299"/>
                  <a:pt x="215" y="299"/>
                </a:cubicBezTo>
                <a:cubicBezTo>
                  <a:pt x="207" y="299"/>
                  <a:pt x="200" y="301"/>
                  <a:pt x="195" y="307"/>
                </a:cubicBezTo>
                <a:cubicBezTo>
                  <a:pt x="189" y="312"/>
                  <a:pt x="187" y="319"/>
                  <a:pt x="187" y="327"/>
                </a:cubicBezTo>
                <a:cubicBezTo>
                  <a:pt x="187" y="420"/>
                  <a:pt x="187" y="420"/>
                  <a:pt x="187" y="420"/>
                </a:cubicBezTo>
                <a:cubicBezTo>
                  <a:pt x="187" y="428"/>
                  <a:pt x="189" y="434"/>
                  <a:pt x="195" y="440"/>
                </a:cubicBezTo>
                <a:cubicBezTo>
                  <a:pt x="200" y="445"/>
                  <a:pt x="207" y="448"/>
                  <a:pt x="215" y="448"/>
                </a:cubicBezTo>
                <a:cubicBezTo>
                  <a:pt x="308" y="448"/>
                  <a:pt x="308" y="448"/>
                  <a:pt x="308" y="448"/>
                </a:cubicBezTo>
                <a:cubicBezTo>
                  <a:pt x="316" y="448"/>
                  <a:pt x="322" y="445"/>
                  <a:pt x="328" y="440"/>
                </a:cubicBezTo>
                <a:cubicBezTo>
                  <a:pt x="333" y="434"/>
                  <a:pt x="336" y="428"/>
                  <a:pt x="336" y="420"/>
                </a:cubicBezTo>
                <a:cubicBezTo>
                  <a:pt x="336" y="327"/>
                  <a:pt x="336" y="327"/>
                  <a:pt x="336" y="327"/>
                </a:cubicBezTo>
                <a:cubicBezTo>
                  <a:pt x="336" y="319"/>
                  <a:pt x="333" y="312"/>
                  <a:pt x="328" y="307"/>
                </a:cubicBezTo>
                <a:cubicBezTo>
                  <a:pt x="322" y="301"/>
                  <a:pt x="316" y="299"/>
                  <a:pt x="308" y="299"/>
                </a:cubicBezTo>
                <a:cubicBezTo>
                  <a:pt x="280" y="299"/>
                  <a:pt x="280" y="299"/>
                  <a:pt x="280" y="299"/>
                </a:cubicBezTo>
                <a:cubicBezTo>
                  <a:pt x="280" y="243"/>
                  <a:pt x="280" y="243"/>
                  <a:pt x="280" y="243"/>
                </a:cubicBezTo>
                <a:cubicBezTo>
                  <a:pt x="429" y="243"/>
                  <a:pt x="429" y="243"/>
                  <a:pt x="429" y="243"/>
                </a:cubicBezTo>
                <a:cubicBezTo>
                  <a:pt x="429" y="299"/>
                  <a:pt x="429" y="299"/>
                  <a:pt x="429" y="299"/>
                </a:cubicBezTo>
                <a:cubicBezTo>
                  <a:pt x="401" y="299"/>
                  <a:pt x="401" y="299"/>
                  <a:pt x="401" y="299"/>
                </a:cubicBezTo>
                <a:cubicBezTo>
                  <a:pt x="393" y="299"/>
                  <a:pt x="387" y="301"/>
                  <a:pt x="381" y="307"/>
                </a:cubicBezTo>
                <a:cubicBezTo>
                  <a:pt x="376" y="312"/>
                  <a:pt x="373" y="319"/>
                  <a:pt x="373" y="327"/>
                </a:cubicBezTo>
                <a:cubicBezTo>
                  <a:pt x="373" y="420"/>
                  <a:pt x="373" y="420"/>
                  <a:pt x="373" y="420"/>
                </a:cubicBezTo>
                <a:cubicBezTo>
                  <a:pt x="373" y="428"/>
                  <a:pt x="376" y="434"/>
                  <a:pt x="381" y="440"/>
                </a:cubicBezTo>
                <a:cubicBezTo>
                  <a:pt x="387" y="445"/>
                  <a:pt x="393" y="448"/>
                  <a:pt x="401" y="448"/>
                </a:cubicBezTo>
                <a:cubicBezTo>
                  <a:pt x="495" y="448"/>
                  <a:pt x="495" y="448"/>
                  <a:pt x="495" y="448"/>
                </a:cubicBezTo>
                <a:cubicBezTo>
                  <a:pt x="502" y="448"/>
                  <a:pt x="509" y="445"/>
                  <a:pt x="514" y="440"/>
                </a:cubicBezTo>
                <a:cubicBezTo>
                  <a:pt x="520" y="434"/>
                  <a:pt x="523" y="428"/>
                  <a:pt x="523" y="420"/>
                </a:cubicBezTo>
                <a:cubicBezTo>
                  <a:pt x="523" y="327"/>
                  <a:pt x="523" y="327"/>
                  <a:pt x="523" y="327"/>
                </a:cubicBezTo>
                <a:cubicBezTo>
                  <a:pt x="523" y="319"/>
                  <a:pt x="520" y="312"/>
                  <a:pt x="514" y="307"/>
                </a:cubicBez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22" name="TextBox 21"/>
          <p:cNvSpPr txBox="1"/>
          <p:nvPr/>
        </p:nvSpPr>
        <p:spPr>
          <a:xfrm>
            <a:off x="9416297" y="2966464"/>
            <a:ext cx="161647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Sponsorship diagram</a:t>
            </a:r>
            <a:endParaRPr lang="en-CA" dirty="0"/>
          </a:p>
        </p:txBody>
      </p:sp>
      <p:sp>
        <p:nvSpPr>
          <p:cNvPr id="32" name="Freeform 31" descr="Gray arrow linking Tools you create to Documents" title="Gray arrow"/>
          <p:cNvSpPr>
            <a:spLocks/>
          </p:cNvSpPr>
          <p:nvPr/>
        </p:nvSpPr>
        <p:spPr bwMode="auto">
          <a:xfrm rot="5400000">
            <a:off x="8896703" y="3565791"/>
            <a:ext cx="854035" cy="1223964"/>
          </a:xfrm>
          <a:custGeom>
            <a:avLst/>
            <a:gdLst>
              <a:gd name="T0" fmla="*/ 886 w 1067"/>
              <a:gd name="T1" fmla="*/ 1029 h 1149"/>
              <a:gd name="T2" fmla="*/ 936 w 1067"/>
              <a:gd name="T3" fmla="*/ 941 h 1149"/>
              <a:gd name="T4" fmla="*/ 1039 w 1067"/>
              <a:gd name="T5" fmla="*/ 823 h 1149"/>
              <a:gd name="T6" fmla="*/ 1067 w 1067"/>
              <a:gd name="T7" fmla="*/ 817 h 1149"/>
              <a:gd name="T8" fmla="*/ 1056 w 1067"/>
              <a:gd name="T9" fmla="*/ 843 h 1149"/>
              <a:gd name="T10" fmla="*/ 892 w 1067"/>
              <a:gd name="T11" fmla="*/ 1054 h 1149"/>
              <a:gd name="T12" fmla="*/ 886 w 1067"/>
              <a:gd name="T13" fmla="*/ 1097 h 1149"/>
              <a:gd name="T14" fmla="*/ 877 w 1067"/>
              <a:gd name="T15" fmla="*/ 1148 h 1149"/>
              <a:gd name="T16" fmla="*/ 866 w 1067"/>
              <a:gd name="T17" fmla="*/ 1149 h 1149"/>
              <a:gd name="T18" fmla="*/ 793 w 1067"/>
              <a:gd name="T19" fmla="*/ 1071 h 1149"/>
              <a:gd name="T20" fmla="*/ 487 w 1067"/>
              <a:gd name="T21" fmla="*/ 877 h 1149"/>
              <a:gd name="T22" fmla="*/ 484 w 1067"/>
              <a:gd name="T23" fmla="*/ 876 h 1149"/>
              <a:gd name="T24" fmla="*/ 453 w 1067"/>
              <a:gd name="T25" fmla="*/ 849 h 1149"/>
              <a:gd name="T26" fmla="*/ 493 w 1067"/>
              <a:gd name="T27" fmla="*/ 847 h 1149"/>
              <a:gd name="T28" fmla="*/ 833 w 1067"/>
              <a:gd name="T29" fmla="*/ 1095 h 1149"/>
              <a:gd name="T30" fmla="*/ 852 w 1067"/>
              <a:gd name="T31" fmla="*/ 1107 h 1149"/>
              <a:gd name="T32" fmla="*/ 851 w 1067"/>
              <a:gd name="T33" fmla="*/ 1078 h 1149"/>
              <a:gd name="T34" fmla="*/ 689 w 1067"/>
              <a:gd name="T35" fmla="*/ 534 h 1149"/>
              <a:gd name="T36" fmla="*/ 460 w 1067"/>
              <a:gd name="T37" fmla="*/ 187 h 1149"/>
              <a:gd name="T38" fmla="*/ 128 w 1067"/>
              <a:gd name="T39" fmla="*/ 22 h 1149"/>
              <a:gd name="T40" fmla="*/ 0 w 1067"/>
              <a:gd name="T41" fmla="*/ 8 h 1149"/>
              <a:gd name="T42" fmla="*/ 95 w 1067"/>
              <a:gd name="T43" fmla="*/ 2 h 1149"/>
              <a:gd name="T44" fmla="*/ 608 w 1067"/>
              <a:gd name="T45" fmla="*/ 304 h 1149"/>
              <a:gd name="T46" fmla="*/ 816 w 1067"/>
              <a:gd name="T47" fmla="*/ 734 h 1149"/>
              <a:gd name="T48" fmla="*/ 880 w 1067"/>
              <a:gd name="T49" fmla="*/ 1008 h 1149"/>
              <a:gd name="T50" fmla="*/ 886 w 1067"/>
              <a:gd name="T51" fmla="*/ 1029 h 1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067" h="1149">
                <a:moveTo>
                  <a:pt x="886" y="1029"/>
                </a:moveTo>
                <a:cubicBezTo>
                  <a:pt x="904" y="997"/>
                  <a:pt x="917" y="967"/>
                  <a:pt x="936" y="941"/>
                </a:cubicBezTo>
                <a:cubicBezTo>
                  <a:pt x="968" y="900"/>
                  <a:pt x="1003" y="862"/>
                  <a:pt x="1039" y="823"/>
                </a:cubicBezTo>
                <a:cubicBezTo>
                  <a:pt x="1044" y="818"/>
                  <a:pt x="1057" y="819"/>
                  <a:pt x="1067" y="817"/>
                </a:cubicBezTo>
                <a:cubicBezTo>
                  <a:pt x="1063" y="826"/>
                  <a:pt x="1062" y="838"/>
                  <a:pt x="1056" y="843"/>
                </a:cubicBezTo>
                <a:cubicBezTo>
                  <a:pt x="979" y="896"/>
                  <a:pt x="935" y="974"/>
                  <a:pt x="892" y="1054"/>
                </a:cubicBezTo>
                <a:cubicBezTo>
                  <a:pt x="885" y="1065"/>
                  <a:pt x="888" y="1082"/>
                  <a:pt x="886" y="1097"/>
                </a:cubicBezTo>
                <a:cubicBezTo>
                  <a:pt x="883" y="1114"/>
                  <a:pt x="880" y="1131"/>
                  <a:pt x="877" y="1148"/>
                </a:cubicBezTo>
                <a:cubicBezTo>
                  <a:pt x="873" y="1148"/>
                  <a:pt x="870" y="1148"/>
                  <a:pt x="866" y="1149"/>
                </a:cubicBezTo>
                <a:cubicBezTo>
                  <a:pt x="842" y="1123"/>
                  <a:pt x="818" y="1097"/>
                  <a:pt x="793" y="1071"/>
                </a:cubicBezTo>
                <a:cubicBezTo>
                  <a:pt x="706" y="983"/>
                  <a:pt x="608" y="911"/>
                  <a:pt x="487" y="877"/>
                </a:cubicBezTo>
                <a:cubicBezTo>
                  <a:pt x="486" y="877"/>
                  <a:pt x="485" y="876"/>
                  <a:pt x="484" y="876"/>
                </a:cubicBezTo>
                <a:cubicBezTo>
                  <a:pt x="471" y="869"/>
                  <a:pt x="446" y="871"/>
                  <a:pt x="453" y="849"/>
                </a:cubicBezTo>
                <a:cubicBezTo>
                  <a:pt x="460" y="827"/>
                  <a:pt x="480" y="842"/>
                  <a:pt x="493" y="847"/>
                </a:cubicBezTo>
                <a:cubicBezTo>
                  <a:pt x="633" y="893"/>
                  <a:pt x="741" y="983"/>
                  <a:pt x="833" y="1095"/>
                </a:cubicBezTo>
                <a:cubicBezTo>
                  <a:pt x="837" y="1099"/>
                  <a:pt x="841" y="1104"/>
                  <a:pt x="852" y="1107"/>
                </a:cubicBezTo>
                <a:cubicBezTo>
                  <a:pt x="852" y="1097"/>
                  <a:pt x="853" y="1087"/>
                  <a:pt x="851" y="1078"/>
                </a:cubicBezTo>
                <a:cubicBezTo>
                  <a:pt x="807" y="894"/>
                  <a:pt x="762" y="709"/>
                  <a:pt x="689" y="534"/>
                </a:cubicBezTo>
                <a:cubicBezTo>
                  <a:pt x="635" y="403"/>
                  <a:pt x="558" y="287"/>
                  <a:pt x="460" y="187"/>
                </a:cubicBezTo>
                <a:cubicBezTo>
                  <a:pt x="369" y="94"/>
                  <a:pt x="255" y="44"/>
                  <a:pt x="128" y="22"/>
                </a:cubicBezTo>
                <a:cubicBezTo>
                  <a:pt x="86" y="15"/>
                  <a:pt x="43" y="15"/>
                  <a:pt x="0" y="8"/>
                </a:cubicBezTo>
                <a:cubicBezTo>
                  <a:pt x="31" y="6"/>
                  <a:pt x="63" y="0"/>
                  <a:pt x="95" y="2"/>
                </a:cubicBezTo>
                <a:cubicBezTo>
                  <a:pt x="315" y="18"/>
                  <a:pt x="479" y="130"/>
                  <a:pt x="608" y="304"/>
                </a:cubicBezTo>
                <a:cubicBezTo>
                  <a:pt x="704" y="435"/>
                  <a:pt x="769" y="580"/>
                  <a:pt x="816" y="734"/>
                </a:cubicBezTo>
                <a:cubicBezTo>
                  <a:pt x="842" y="824"/>
                  <a:pt x="859" y="917"/>
                  <a:pt x="880" y="1008"/>
                </a:cubicBezTo>
                <a:cubicBezTo>
                  <a:pt x="881" y="1013"/>
                  <a:pt x="883" y="1019"/>
                  <a:pt x="886" y="1029"/>
                </a:cubicBezTo>
              </a:path>
            </a:pathLst>
          </a:custGeom>
          <a:solidFill>
            <a:srgbClr val="999999"/>
          </a:solidFill>
          <a:ln w="76200">
            <a:solidFill>
              <a:srgbClr val="999999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sp>
        <p:nvSpPr>
          <p:cNvPr id="34" name="Chevron 33" descr="Green chevron arrow linking Documents to Tools you create" title="Green chevron"/>
          <p:cNvSpPr/>
          <p:nvPr/>
        </p:nvSpPr>
        <p:spPr>
          <a:xfrm>
            <a:off x="8057727" y="1653990"/>
            <a:ext cx="492639" cy="2150550"/>
          </a:xfrm>
          <a:prstGeom prst="chevron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CA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833417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bout the sponsor and champions</a:t>
            </a:r>
            <a:endParaRPr lang="en-CA" dirty="0"/>
          </a:p>
        </p:txBody>
      </p:sp>
      <p:sp>
        <p:nvSpPr>
          <p:cNvPr id="3" name="TextBox 2"/>
          <p:cNvSpPr txBox="1"/>
          <p:nvPr/>
        </p:nvSpPr>
        <p:spPr>
          <a:xfrm>
            <a:off x="544455" y="1523777"/>
            <a:ext cx="5034968" cy="20313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>
              <a:defRPr/>
            </a:pPr>
            <a:r>
              <a:rPr lang="en-US" b="1" dirty="0"/>
              <a:t>T</a:t>
            </a:r>
            <a:r>
              <a:rPr lang="en-US" b="1" dirty="0" smtClean="0"/>
              <a:t>he </a:t>
            </a:r>
            <a:r>
              <a:rPr lang="en-US" b="1" dirty="0"/>
              <a:t>sponsor</a:t>
            </a:r>
            <a:endParaRPr lang="en-CA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 smtClean="0"/>
              <a:t>“owns</a:t>
            </a:r>
            <a:r>
              <a:rPr lang="en-CA" dirty="0"/>
              <a:t>” and leads workplace chang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 smtClean="0"/>
              <a:t>participates </a:t>
            </a:r>
            <a:r>
              <a:rPr lang="en-CA" dirty="0"/>
              <a:t>actively and visibly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 smtClean="0"/>
              <a:t>manages </a:t>
            </a:r>
            <a:r>
              <a:rPr lang="en-CA" dirty="0"/>
              <a:t>and </a:t>
            </a:r>
            <a:r>
              <a:rPr lang="en-CA" dirty="0" smtClean="0"/>
              <a:t>oversees </a:t>
            </a:r>
            <a:r>
              <a:rPr lang="en-CA" dirty="0"/>
              <a:t>the change and approach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 smtClean="0"/>
              <a:t>communicates </a:t>
            </a:r>
            <a:r>
              <a:rPr lang="en-CA" dirty="0"/>
              <a:t>expected benefits to employe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CA" dirty="0" smtClean="0"/>
              <a:t>secures </a:t>
            </a:r>
            <a:r>
              <a:rPr lang="en-CA" dirty="0"/>
              <a:t>resources for the project ($+FTEs)</a:t>
            </a:r>
          </a:p>
          <a:p>
            <a:endParaRPr lang="en-CA" dirty="0"/>
          </a:p>
        </p:txBody>
      </p:sp>
      <p:sp>
        <p:nvSpPr>
          <p:cNvPr id="4" name="TextBox 3"/>
          <p:cNvSpPr txBox="1"/>
          <p:nvPr/>
        </p:nvSpPr>
        <p:spPr>
          <a:xfrm>
            <a:off x="520021" y="3522052"/>
            <a:ext cx="4889262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ctr"/>
            <a:r>
              <a:rPr lang="en-US" b="1" dirty="0" smtClean="0"/>
              <a:t>The champion</a:t>
            </a:r>
            <a:endParaRPr lang="en-CA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US" dirty="0" smtClean="0"/>
              <a:t>is the </a:t>
            </a:r>
            <a:r>
              <a:rPr lang="en-US" dirty="0"/>
              <a:t>person employees of a group </a:t>
            </a:r>
            <a:r>
              <a:rPr lang="en-US" dirty="0" smtClean="0"/>
              <a:t>view </a:t>
            </a:r>
            <a:r>
              <a:rPr lang="en-US" dirty="0"/>
              <a:t>as </a:t>
            </a:r>
            <a:r>
              <a:rPr lang="en-US" dirty="0" smtClean="0"/>
              <a:t>“in charge”</a:t>
            </a:r>
            <a:endParaRPr lang="en-CA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CA" dirty="0" smtClean="0"/>
              <a:t>participates </a:t>
            </a:r>
            <a:r>
              <a:rPr lang="en-CA" dirty="0"/>
              <a:t>actively and visibly </a:t>
            </a:r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CA" dirty="0" smtClean="0"/>
              <a:t>adapts </a:t>
            </a:r>
            <a:r>
              <a:rPr lang="en-CA" dirty="0"/>
              <a:t>quickly and </a:t>
            </a:r>
            <a:r>
              <a:rPr lang="en-CA" dirty="0" smtClean="0"/>
              <a:t>advocates </a:t>
            </a:r>
            <a:r>
              <a:rPr lang="en-CA" dirty="0"/>
              <a:t>for the change; early </a:t>
            </a:r>
            <a:r>
              <a:rPr lang="en-CA" dirty="0" smtClean="0"/>
              <a:t>adopter</a:t>
            </a:r>
            <a:endParaRPr lang="en-CA" dirty="0"/>
          </a:p>
          <a:p>
            <a:pPr marL="285750" indent="-285750" fontAlgn="ctr">
              <a:buFont typeface="Arial" panose="020B0604020202020204" pitchFamily="34" charset="0"/>
              <a:buChar char="•"/>
            </a:pPr>
            <a:r>
              <a:rPr lang="en-CA" dirty="0" smtClean="0"/>
              <a:t>demonstrates </a:t>
            </a:r>
            <a:r>
              <a:rPr lang="en-CA" dirty="0"/>
              <a:t>commitment by building a coalition of support</a:t>
            </a:r>
          </a:p>
          <a:p>
            <a:endParaRPr lang="en-CA" dirty="0"/>
          </a:p>
        </p:txBody>
      </p:sp>
      <p:sp>
        <p:nvSpPr>
          <p:cNvPr id="15" name="Freeform 14" descr="gray curved arrow linking sponsor and champion lists to the ideal sponsor traits image" title="gray arrow"/>
          <p:cNvSpPr>
            <a:spLocks/>
          </p:cNvSpPr>
          <p:nvPr/>
        </p:nvSpPr>
        <p:spPr bwMode="auto">
          <a:xfrm rot="17777489">
            <a:off x="4454663" y="1053364"/>
            <a:ext cx="854035" cy="1223964"/>
          </a:xfrm>
          <a:custGeom>
            <a:avLst/>
            <a:gdLst>
              <a:gd name="T0" fmla="*/ 886 w 1067"/>
              <a:gd name="T1" fmla="*/ 1029 h 1149"/>
              <a:gd name="T2" fmla="*/ 936 w 1067"/>
              <a:gd name="T3" fmla="*/ 941 h 1149"/>
              <a:gd name="T4" fmla="*/ 1039 w 1067"/>
              <a:gd name="T5" fmla="*/ 823 h 1149"/>
              <a:gd name="T6" fmla="*/ 1067 w 1067"/>
              <a:gd name="T7" fmla="*/ 817 h 1149"/>
              <a:gd name="T8" fmla="*/ 1056 w 1067"/>
              <a:gd name="T9" fmla="*/ 843 h 1149"/>
              <a:gd name="T10" fmla="*/ 892 w 1067"/>
              <a:gd name="T11" fmla="*/ 1054 h 1149"/>
              <a:gd name="T12" fmla="*/ 886 w 1067"/>
              <a:gd name="T13" fmla="*/ 1097 h 1149"/>
              <a:gd name="T14" fmla="*/ 877 w 1067"/>
              <a:gd name="T15" fmla="*/ 1148 h 1149"/>
              <a:gd name="T16" fmla="*/ 866 w 1067"/>
              <a:gd name="T17" fmla="*/ 1149 h 1149"/>
              <a:gd name="T18" fmla="*/ 793 w 1067"/>
              <a:gd name="T19" fmla="*/ 1071 h 1149"/>
              <a:gd name="T20" fmla="*/ 487 w 1067"/>
              <a:gd name="T21" fmla="*/ 877 h 1149"/>
              <a:gd name="T22" fmla="*/ 484 w 1067"/>
              <a:gd name="T23" fmla="*/ 876 h 1149"/>
              <a:gd name="T24" fmla="*/ 453 w 1067"/>
              <a:gd name="T25" fmla="*/ 849 h 1149"/>
              <a:gd name="T26" fmla="*/ 493 w 1067"/>
              <a:gd name="T27" fmla="*/ 847 h 1149"/>
              <a:gd name="T28" fmla="*/ 833 w 1067"/>
              <a:gd name="T29" fmla="*/ 1095 h 1149"/>
              <a:gd name="T30" fmla="*/ 852 w 1067"/>
              <a:gd name="T31" fmla="*/ 1107 h 1149"/>
              <a:gd name="T32" fmla="*/ 851 w 1067"/>
              <a:gd name="T33" fmla="*/ 1078 h 1149"/>
              <a:gd name="T34" fmla="*/ 689 w 1067"/>
              <a:gd name="T35" fmla="*/ 534 h 1149"/>
              <a:gd name="T36" fmla="*/ 460 w 1067"/>
              <a:gd name="T37" fmla="*/ 187 h 1149"/>
              <a:gd name="T38" fmla="*/ 128 w 1067"/>
              <a:gd name="T39" fmla="*/ 22 h 1149"/>
              <a:gd name="T40" fmla="*/ 0 w 1067"/>
              <a:gd name="T41" fmla="*/ 8 h 1149"/>
              <a:gd name="T42" fmla="*/ 95 w 1067"/>
              <a:gd name="T43" fmla="*/ 2 h 1149"/>
              <a:gd name="T44" fmla="*/ 608 w 1067"/>
              <a:gd name="T45" fmla="*/ 304 h 1149"/>
              <a:gd name="T46" fmla="*/ 816 w 1067"/>
              <a:gd name="T47" fmla="*/ 734 h 1149"/>
              <a:gd name="T48" fmla="*/ 880 w 1067"/>
              <a:gd name="T49" fmla="*/ 1008 h 1149"/>
              <a:gd name="T50" fmla="*/ 886 w 1067"/>
              <a:gd name="T51" fmla="*/ 1029 h 114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</a:cxnLst>
            <a:rect l="0" t="0" r="r" b="b"/>
            <a:pathLst>
              <a:path w="1067" h="1149">
                <a:moveTo>
                  <a:pt x="886" y="1029"/>
                </a:moveTo>
                <a:cubicBezTo>
                  <a:pt x="904" y="997"/>
                  <a:pt x="917" y="967"/>
                  <a:pt x="936" y="941"/>
                </a:cubicBezTo>
                <a:cubicBezTo>
                  <a:pt x="968" y="900"/>
                  <a:pt x="1003" y="862"/>
                  <a:pt x="1039" y="823"/>
                </a:cubicBezTo>
                <a:cubicBezTo>
                  <a:pt x="1044" y="818"/>
                  <a:pt x="1057" y="819"/>
                  <a:pt x="1067" y="817"/>
                </a:cubicBezTo>
                <a:cubicBezTo>
                  <a:pt x="1063" y="826"/>
                  <a:pt x="1062" y="838"/>
                  <a:pt x="1056" y="843"/>
                </a:cubicBezTo>
                <a:cubicBezTo>
                  <a:pt x="979" y="896"/>
                  <a:pt x="935" y="974"/>
                  <a:pt x="892" y="1054"/>
                </a:cubicBezTo>
                <a:cubicBezTo>
                  <a:pt x="885" y="1065"/>
                  <a:pt x="888" y="1082"/>
                  <a:pt x="886" y="1097"/>
                </a:cubicBezTo>
                <a:cubicBezTo>
                  <a:pt x="883" y="1114"/>
                  <a:pt x="880" y="1131"/>
                  <a:pt x="877" y="1148"/>
                </a:cubicBezTo>
                <a:cubicBezTo>
                  <a:pt x="873" y="1148"/>
                  <a:pt x="870" y="1148"/>
                  <a:pt x="866" y="1149"/>
                </a:cubicBezTo>
                <a:cubicBezTo>
                  <a:pt x="842" y="1123"/>
                  <a:pt x="818" y="1097"/>
                  <a:pt x="793" y="1071"/>
                </a:cubicBezTo>
                <a:cubicBezTo>
                  <a:pt x="706" y="983"/>
                  <a:pt x="608" y="911"/>
                  <a:pt x="487" y="877"/>
                </a:cubicBezTo>
                <a:cubicBezTo>
                  <a:pt x="486" y="877"/>
                  <a:pt x="485" y="876"/>
                  <a:pt x="484" y="876"/>
                </a:cubicBezTo>
                <a:cubicBezTo>
                  <a:pt x="471" y="869"/>
                  <a:pt x="446" y="871"/>
                  <a:pt x="453" y="849"/>
                </a:cubicBezTo>
                <a:cubicBezTo>
                  <a:pt x="460" y="827"/>
                  <a:pt x="480" y="842"/>
                  <a:pt x="493" y="847"/>
                </a:cubicBezTo>
                <a:cubicBezTo>
                  <a:pt x="633" y="893"/>
                  <a:pt x="741" y="983"/>
                  <a:pt x="833" y="1095"/>
                </a:cubicBezTo>
                <a:cubicBezTo>
                  <a:pt x="837" y="1099"/>
                  <a:pt x="841" y="1104"/>
                  <a:pt x="852" y="1107"/>
                </a:cubicBezTo>
                <a:cubicBezTo>
                  <a:pt x="852" y="1097"/>
                  <a:pt x="853" y="1087"/>
                  <a:pt x="851" y="1078"/>
                </a:cubicBezTo>
                <a:cubicBezTo>
                  <a:pt x="807" y="894"/>
                  <a:pt x="762" y="709"/>
                  <a:pt x="689" y="534"/>
                </a:cubicBezTo>
                <a:cubicBezTo>
                  <a:pt x="635" y="403"/>
                  <a:pt x="558" y="287"/>
                  <a:pt x="460" y="187"/>
                </a:cubicBezTo>
                <a:cubicBezTo>
                  <a:pt x="369" y="94"/>
                  <a:pt x="255" y="44"/>
                  <a:pt x="128" y="22"/>
                </a:cubicBezTo>
                <a:cubicBezTo>
                  <a:pt x="86" y="15"/>
                  <a:pt x="43" y="15"/>
                  <a:pt x="0" y="8"/>
                </a:cubicBezTo>
                <a:cubicBezTo>
                  <a:pt x="31" y="6"/>
                  <a:pt x="63" y="0"/>
                  <a:pt x="95" y="2"/>
                </a:cubicBezTo>
                <a:cubicBezTo>
                  <a:pt x="315" y="18"/>
                  <a:pt x="479" y="130"/>
                  <a:pt x="608" y="304"/>
                </a:cubicBezTo>
                <a:cubicBezTo>
                  <a:pt x="704" y="435"/>
                  <a:pt x="769" y="580"/>
                  <a:pt x="816" y="734"/>
                </a:cubicBezTo>
                <a:cubicBezTo>
                  <a:pt x="842" y="824"/>
                  <a:pt x="859" y="917"/>
                  <a:pt x="880" y="1008"/>
                </a:cubicBezTo>
                <a:cubicBezTo>
                  <a:pt x="881" y="1013"/>
                  <a:pt x="883" y="1019"/>
                  <a:pt x="886" y="1029"/>
                </a:cubicBezTo>
              </a:path>
            </a:pathLst>
          </a:custGeom>
          <a:solidFill>
            <a:srgbClr val="999999"/>
          </a:solidFill>
          <a:ln w="76200">
            <a:solidFill>
              <a:srgbClr val="999999"/>
            </a:solidFill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/>
          </a:p>
        </p:txBody>
      </p:sp>
      <p:grpSp>
        <p:nvGrpSpPr>
          <p:cNvPr id="7" name="Group 6" descr="ideal sponser traits are: strong communication skills, creates engagement through passion and enthusiasm, engaged and involved, visible and supportive, approachable and available, and recognized leader with sponsorship experience." title="Ideal sponser traits list"/>
          <p:cNvGrpSpPr/>
          <p:nvPr/>
        </p:nvGrpSpPr>
        <p:grpSpPr>
          <a:xfrm>
            <a:off x="5829715" y="1665347"/>
            <a:ext cx="5685389" cy="3693319"/>
            <a:chOff x="427291" y="539045"/>
            <a:chExt cx="8990650" cy="5509616"/>
          </a:xfrm>
        </p:grpSpPr>
        <p:sp>
          <p:nvSpPr>
            <p:cNvPr id="8" name="TextBox 7"/>
            <p:cNvSpPr txBox="1"/>
            <p:nvPr/>
          </p:nvSpPr>
          <p:spPr>
            <a:xfrm>
              <a:off x="427291" y="539045"/>
              <a:ext cx="8990650" cy="5509616"/>
            </a:xfrm>
            <a:prstGeom prst="rect">
              <a:avLst/>
            </a:prstGeom>
            <a:noFill/>
            <a:ln w="38100">
              <a:solidFill>
                <a:schemeClr val="accent5"/>
              </a:solidFill>
            </a:ln>
          </p:spPr>
          <p:txBody>
            <a:bodyPr wrap="square" rtlCol="0">
              <a:spAutoFit/>
            </a:bodyPr>
            <a:lstStyle/>
            <a:p>
              <a:r>
                <a:rPr lang="en-CA" b="1" dirty="0" smtClean="0">
                  <a:cs typeface="Arial" panose="020B0604020202020204" pitchFamily="34" charset="0"/>
                </a:rPr>
                <a:t>Ideal sponsor traits</a:t>
              </a:r>
            </a:p>
            <a:p>
              <a:endParaRPr lang="en-CA" dirty="0">
                <a:cs typeface="Arial" panose="020B0604020202020204" pitchFamily="34" charset="0"/>
              </a:endParaRPr>
            </a:p>
            <a:p>
              <a:r>
                <a:rPr lang="en-CA" dirty="0">
                  <a:cs typeface="Arial" panose="020B0604020202020204" pitchFamily="34" charset="0"/>
                </a:rPr>
                <a:t> </a:t>
              </a:r>
              <a:r>
                <a:rPr lang="en-CA" dirty="0" smtClean="0">
                  <a:cs typeface="Arial" panose="020B0604020202020204" pitchFamily="34" charset="0"/>
                </a:rPr>
                <a:t>        Strong </a:t>
              </a:r>
              <a:r>
                <a:rPr lang="en-CA" dirty="0">
                  <a:cs typeface="Arial" panose="020B0604020202020204" pitchFamily="34" charset="0"/>
                </a:rPr>
                <a:t>communication </a:t>
              </a:r>
              <a:r>
                <a:rPr lang="en-CA" dirty="0" smtClean="0">
                  <a:cs typeface="Arial" panose="020B0604020202020204" pitchFamily="34" charset="0"/>
                </a:rPr>
                <a:t>skills</a:t>
              </a:r>
            </a:p>
            <a:p>
              <a:endParaRPr lang="en-CA" dirty="0">
                <a:cs typeface="Arial" panose="020B0604020202020204" pitchFamily="34" charset="0"/>
              </a:endParaRPr>
            </a:p>
            <a:p>
              <a:r>
                <a:rPr lang="en-CA" dirty="0" smtClean="0">
                  <a:cs typeface="Arial" panose="020B0604020202020204" pitchFamily="34" charset="0"/>
                </a:rPr>
                <a:t>         Creates </a:t>
              </a:r>
              <a:r>
                <a:rPr lang="en-CA" dirty="0">
                  <a:cs typeface="Arial" panose="020B0604020202020204" pitchFamily="34" charset="0"/>
                </a:rPr>
                <a:t>engagement through passion and enthusiasm</a:t>
              </a:r>
            </a:p>
            <a:p>
              <a:endParaRPr lang="en-CA" dirty="0">
                <a:cs typeface="Arial" panose="020B0604020202020204" pitchFamily="34" charset="0"/>
              </a:endParaRPr>
            </a:p>
            <a:p>
              <a:r>
                <a:rPr lang="en-CA" dirty="0" smtClean="0">
                  <a:cs typeface="Arial" panose="020B0604020202020204" pitchFamily="34" charset="0"/>
                </a:rPr>
                <a:t>         Engaged </a:t>
              </a:r>
              <a:r>
                <a:rPr lang="en-CA" dirty="0">
                  <a:cs typeface="Arial" panose="020B0604020202020204" pitchFamily="34" charset="0"/>
                </a:rPr>
                <a:t>and involved</a:t>
              </a:r>
            </a:p>
            <a:p>
              <a:endParaRPr lang="en-CA" dirty="0">
                <a:cs typeface="Arial" panose="020B0604020202020204" pitchFamily="34" charset="0"/>
              </a:endParaRPr>
            </a:p>
            <a:p>
              <a:r>
                <a:rPr lang="en-CA" dirty="0" smtClean="0">
                  <a:cs typeface="Arial" panose="020B0604020202020204" pitchFamily="34" charset="0"/>
                </a:rPr>
                <a:t>         Visible </a:t>
              </a:r>
              <a:r>
                <a:rPr lang="en-CA" dirty="0">
                  <a:cs typeface="Arial" panose="020B0604020202020204" pitchFamily="34" charset="0"/>
                </a:rPr>
                <a:t>and supportive</a:t>
              </a:r>
            </a:p>
            <a:p>
              <a:endParaRPr lang="en-CA" dirty="0">
                <a:cs typeface="Arial" panose="020B0604020202020204" pitchFamily="34" charset="0"/>
              </a:endParaRPr>
            </a:p>
            <a:p>
              <a:r>
                <a:rPr lang="en-CA" dirty="0" smtClean="0">
                  <a:cs typeface="Arial" panose="020B0604020202020204" pitchFamily="34" charset="0"/>
                </a:rPr>
                <a:t>         Approachable </a:t>
              </a:r>
              <a:r>
                <a:rPr lang="en-CA" dirty="0">
                  <a:cs typeface="Arial" panose="020B0604020202020204" pitchFamily="34" charset="0"/>
                </a:rPr>
                <a:t>and available</a:t>
              </a:r>
            </a:p>
            <a:p>
              <a:endParaRPr lang="en-CA" dirty="0">
                <a:cs typeface="Arial" panose="020B0604020202020204" pitchFamily="34" charset="0"/>
              </a:endParaRPr>
            </a:p>
            <a:p>
              <a:r>
                <a:rPr lang="en-CA" dirty="0" smtClean="0">
                  <a:cs typeface="Arial" panose="020B0604020202020204" pitchFamily="34" charset="0"/>
                </a:rPr>
                <a:t>         Recognized </a:t>
              </a:r>
              <a:r>
                <a:rPr lang="en-CA" dirty="0">
                  <a:cs typeface="Arial" panose="020B0604020202020204" pitchFamily="34" charset="0"/>
                </a:rPr>
                <a:t>leader with sponsorship </a:t>
              </a:r>
              <a:r>
                <a:rPr lang="en-CA" dirty="0" smtClean="0">
                  <a:cs typeface="Arial" panose="020B0604020202020204" pitchFamily="34" charset="0"/>
                </a:rPr>
                <a:t>experience</a:t>
              </a:r>
              <a:endParaRPr lang="en-CA" sz="2000" dirty="0">
                <a:cs typeface="Arial" panose="020B0604020202020204" pitchFamily="34" charset="0"/>
              </a:endParaRPr>
            </a:p>
          </p:txBody>
        </p:sp>
        <p:sp>
          <p:nvSpPr>
            <p:cNvPr id="9" name="Freeform 8" descr="Comment Outline Icon"/>
            <p:cNvSpPr>
              <a:spLocks noEditPoints="1"/>
            </p:cNvSpPr>
            <p:nvPr/>
          </p:nvSpPr>
          <p:spPr bwMode="auto">
            <a:xfrm>
              <a:off x="618745" y="1440418"/>
              <a:ext cx="571500" cy="491233"/>
            </a:xfrm>
            <a:custGeom>
              <a:avLst/>
              <a:gdLst>
                <a:gd name="T0" fmla="*/ 188 w 250"/>
                <a:gd name="T1" fmla="*/ 12 h 214"/>
                <a:gd name="T2" fmla="*/ 125 w 250"/>
                <a:gd name="T3" fmla="*/ 0 h 214"/>
                <a:gd name="T4" fmla="*/ 63 w 250"/>
                <a:gd name="T5" fmla="*/ 12 h 214"/>
                <a:gd name="T6" fmla="*/ 17 w 250"/>
                <a:gd name="T7" fmla="*/ 44 h 214"/>
                <a:gd name="T8" fmla="*/ 0 w 250"/>
                <a:gd name="T9" fmla="*/ 89 h 214"/>
                <a:gd name="T10" fmla="*/ 13 w 250"/>
                <a:gd name="T11" fmla="*/ 128 h 214"/>
                <a:gd name="T12" fmla="*/ 47 w 250"/>
                <a:gd name="T13" fmla="*/ 159 h 214"/>
                <a:gd name="T14" fmla="*/ 44 w 250"/>
                <a:gd name="T15" fmla="*/ 170 h 214"/>
                <a:gd name="T16" fmla="*/ 40 w 250"/>
                <a:gd name="T17" fmla="*/ 178 h 214"/>
                <a:gd name="T18" fmla="*/ 36 w 250"/>
                <a:gd name="T19" fmla="*/ 185 h 214"/>
                <a:gd name="T20" fmla="*/ 31 w 250"/>
                <a:gd name="T21" fmla="*/ 191 h 214"/>
                <a:gd name="T22" fmla="*/ 26 w 250"/>
                <a:gd name="T23" fmla="*/ 196 h 214"/>
                <a:gd name="T24" fmla="*/ 22 w 250"/>
                <a:gd name="T25" fmla="*/ 201 h 214"/>
                <a:gd name="T26" fmla="*/ 21 w 250"/>
                <a:gd name="T27" fmla="*/ 202 h 214"/>
                <a:gd name="T28" fmla="*/ 20 w 250"/>
                <a:gd name="T29" fmla="*/ 203 h 214"/>
                <a:gd name="T30" fmla="*/ 19 w 250"/>
                <a:gd name="T31" fmla="*/ 204 h 214"/>
                <a:gd name="T32" fmla="*/ 18 w 250"/>
                <a:gd name="T33" fmla="*/ 206 h 214"/>
                <a:gd name="T34" fmla="*/ 18 w 250"/>
                <a:gd name="T35" fmla="*/ 207 h 214"/>
                <a:gd name="T36" fmla="*/ 18 w 250"/>
                <a:gd name="T37" fmla="*/ 209 h 214"/>
                <a:gd name="T38" fmla="*/ 18 w 250"/>
                <a:gd name="T39" fmla="*/ 209 h 214"/>
                <a:gd name="T40" fmla="*/ 20 w 250"/>
                <a:gd name="T41" fmla="*/ 213 h 214"/>
                <a:gd name="T42" fmla="*/ 24 w 250"/>
                <a:gd name="T43" fmla="*/ 214 h 214"/>
                <a:gd name="T44" fmla="*/ 25 w 250"/>
                <a:gd name="T45" fmla="*/ 214 h 214"/>
                <a:gd name="T46" fmla="*/ 41 w 250"/>
                <a:gd name="T47" fmla="*/ 211 h 214"/>
                <a:gd name="T48" fmla="*/ 105 w 250"/>
                <a:gd name="T49" fmla="*/ 177 h 214"/>
                <a:gd name="T50" fmla="*/ 125 w 250"/>
                <a:gd name="T51" fmla="*/ 179 h 214"/>
                <a:gd name="T52" fmla="*/ 188 w 250"/>
                <a:gd name="T53" fmla="*/ 167 h 214"/>
                <a:gd name="T54" fmla="*/ 234 w 250"/>
                <a:gd name="T55" fmla="*/ 134 h 214"/>
                <a:gd name="T56" fmla="*/ 250 w 250"/>
                <a:gd name="T57" fmla="*/ 89 h 214"/>
                <a:gd name="T58" fmla="*/ 234 w 250"/>
                <a:gd name="T59" fmla="*/ 44 h 214"/>
                <a:gd name="T60" fmla="*/ 188 w 250"/>
                <a:gd name="T61" fmla="*/ 12 h 214"/>
                <a:gd name="T62" fmla="*/ 218 w 250"/>
                <a:gd name="T63" fmla="*/ 54 h 214"/>
                <a:gd name="T64" fmla="*/ 233 w 250"/>
                <a:gd name="T65" fmla="*/ 89 h 214"/>
                <a:gd name="T66" fmla="*/ 218 w 250"/>
                <a:gd name="T67" fmla="*/ 125 h 214"/>
                <a:gd name="T68" fmla="*/ 179 w 250"/>
                <a:gd name="T69" fmla="*/ 151 h 214"/>
                <a:gd name="T70" fmla="*/ 125 w 250"/>
                <a:gd name="T71" fmla="*/ 161 h 214"/>
                <a:gd name="T72" fmla="*/ 107 w 250"/>
                <a:gd name="T73" fmla="*/ 160 h 214"/>
                <a:gd name="T74" fmla="*/ 99 w 250"/>
                <a:gd name="T75" fmla="*/ 159 h 214"/>
                <a:gd name="T76" fmla="*/ 93 w 250"/>
                <a:gd name="T77" fmla="*/ 164 h 214"/>
                <a:gd name="T78" fmla="*/ 55 w 250"/>
                <a:gd name="T79" fmla="*/ 188 h 214"/>
                <a:gd name="T80" fmla="*/ 65 w 250"/>
                <a:gd name="T81" fmla="*/ 164 h 214"/>
                <a:gd name="T82" fmla="*/ 68 w 250"/>
                <a:gd name="T83" fmla="*/ 150 h 214"/>
                <a:gd name="T84" fmla="*/ 56 w 250"/>
                <a:gd name="T85" fmla="*/ 143 h 214"/>
                <a:gd name="T86" fmla="*/ 28 w 250"/>
                <a:gd name="T87" fmla="*/ 119 h 214"/>
                <a:gd name="T88" fmla="*/ 18 w 250"/>
                <a:gd name="T89" fmla="*/ 89 h 214"/>
                <a:gd name="T90" fmla="*/ 33 w 250"/>
                <a:gd name="T91" fmla="*/ 54 h 214"/>
                <a:gd name="T92" fmla="*/ 72 w 250"/>
                <a:gd name="T93" fmla="*/ 27 h 214"/>
                <a:gd name="T94" fmla="*/ 125 w 250"/>
                <a:gd name="T95" fmla="*/ 18 h 214"/>
                <a:gd name="T96" fmla="*/ 179 w 250"/>
                <a:gd name="T97" fmla="*/ 27 h 214"/>
                <a:gd name="T98" fmla="*/ 218 w 250"/>
                <a:gd name="T99" fmla="*/ 54 h 2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250" h="214">
                  <a:moveTo>
                    <a:pt x="188" y="12"/>
                  </a:moveTo>
                  <a:cubicBezTo>
                    <a:pt x="169" y="4"/>
                    <a:pt x="148" y="0"/>
                    <a:pt x="125" y="0"/>
                  </a:cubicBezTo>
                  <a:cubicBezTo>
                    <a:pt x="103" y="0"/>
                    <a:pt x="82" y="4"/>
                    <a:pt x="63" y="12"/>
                  </a:cubicBezTo>
                  <a:cubicBezTo>
                    <a:pt x="43" y="20"/>
                    <a:pt x="28" y="31"/>
                    <a:pt x="17" y="44"/>
                  </a:cubicBezTo>
                  <a:cubicBezTo>
                    <a:pt x="6" y="58"/>
                    <a:pt x="0" y="73"/>
                    <a:pt x="0" y="89"/>
                  </a:cubicBezTo>
                  <a:cubicBezTo>
                    <a:pt x="0" y="103"/>
                    <a:pt x="4" y="116"/>
                    <a:pt x="13" y="128"/>
                  </a:cubicBezTo>
                  <a:cubicBezTo>
                    <a:pt x="21" y="141"/>
                    <a:pt x="33" y="151"/>
                    <a:pt x="47" y="159"/>
                  </a:cubicBezTo>
                  <a:cubicBezTo>
                    <a:pt x="46" y="163"/>
                    <a:pt x="45" y="166"/>
                    <a:pt x="44" y="170"/>
                  </a:cubicBezTo>
                  <a:cubicBezTo>
                    <a:pt x="42" y="173"/>
                    <a:pt x="41" y="176"/>
                    <a:pt x="40" y="178"/>
                  </a:cubicBezTo>
                  <a:cubicBezTo>
                    <a:pt x="39" y="180"/>
                    <a:pt x="37" y="182"/>
                    <a:pt x="36" y="185"/>
                  </a:cubicBezTo>
                  <a:cubicBezTo>
                    <a:pt x="34" y="188"/>
                    <a:pt x="32" y="190"/>
                    <a:pt x="31" y="191"/>
                  </a:cubicBezTo>
                  <a:cubicBezTo>
                    <a:pt x="30" y="192"/>
                    <a:pt x="29" y="193"/>
                    <a:pt x="26" y="196"/>
                  </a:cubicBezTo>
                  <a:cubicBezTo>
                    <a:pt x="24" y="198"/>
                    <a:pt x="23" y="200"/>
                    <a:pt x="22" y="201"/>
                  </a:cubicBezTo>
                  <a:cubicBezTo>
                    <a:pt x="21" y="202"/>
                    <a:pt x="21" y="202"/>
                    <a:pt x="21" y="202"/>
                  </a:cubicBezTo>
                  <a:cubicBezTo>
                    <a:pt x="20" y="203"/>
                    <a:pt x="20" y="203"/>
                    <a:pt x="20" y="203"/>
                  </a:cubicBezTo>
                  <a:cubicBezTo>
                    <a:pt x="19" y="204"/>
                    <a:pt x="19" y="204"/>
                    <a:pt x="19" y="204"/>
                  </a:cubicBezTo>
                  <a:cubicBezTo>
                    <a:pt x="18" y="206"/>
                    <a:pt x="18" y="206"/>
                    <a:pt x="18" y="206"/>
                  </a:cubicBezTo>
                  <a:cubicBezTo>
                    <a:pt x="18" y="207"/>
                    <a:pt x="18" y="207"/>
                    <a:pt x="18" y="207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18" y="209"/>
                    <a:pt x="18" y="209"/>
                    <a:pt x="18" y="209"/>
                  </a:cubicBezTo>
                  <a:cubicBezTo>
                    <a:pt x="20" y="213"/>
                    <a:pt x="20" y="213"/>
                    <a:pt x="20" y="213"/>
                  </a:cubicBezTo>
                  <a:cubicBezTo>
                    <a:pt x="24" y="214"/>
                    <a:pt x="24" y="214"/>
                    <a:pt x="24" y="214"/>
                  </a:cubicBezTo>
                  <a:cubicBezTo>
                    <a:pt x="25" y="214"/>
                    <a:pt x="25" y="214"/>
                    <a:pt x="25" y="214"/>
                  </a:cubicBezTo>
                  <a:cubicBezTo>
                    <a:pt x="31" y="214"/>
                    <a:pt x="36" y="212"/>
                    <a:pt x="41" y="211"/>
                  </a:cubicBezTo>
                  <a:cubicBezTo>
                    <a:pt x="65" y="205"/>
                    <a:pt x="87" y="194"/>
                    <a:pt x="105" y="177"/>
                  </a:cubicBezTo>
                  <a:cubicBezTo>
                    <a:pt x="112" y="178"/>
                    <a:pt x="119" y="179"/>
                    <a:pt x="125" y="179"/>
                  </a:cubicBezTo>
                  <a:cubicBezTo>
                    <a:pt x="148" y="179"/>
                    <a:pt x="169" y="175"/>
                    <a:pt x="188" y="167"/>
                  </a:cubicBezTo>
                  <a:cubicBezTo>
                    <a:pt x="207" y="159"/>
                    <a:pt x="223" y="148"/>
                    <a:pt x="234" y="134"/>
                  </a:cubicBezTo>
                  <a:cubicBezTo>
                    <a:pt x="245" y="120"/>
                    <a:pt x="250" y="105"/>
                    <a:pt x="250" y="89"/>
                  </a:cubicBezTo>
                  <a:cubicBezTo>
                    <a:pt x="250" y="73"/>
                    <a:pt x="245" y="58"/>
                    <a:pt x="234" y="44"/>
                  </a:cubicBezTo>
                  <a:cubicBezTo>
                    <a:pt x="223" y="31"/>
                    <a:pt x="207" y="20"/>
                    <a:pt x="188" y="12"/>
                  </a:cubicBezTo>
                  <a:close/>
                  <a:moveTo>
                    <a:pt x="218" y="54"/>
                  </a:moveTo>
                  <a:cubicBezTo>
                    <a:pt x="228" y="65"/>
                    <a:pt x="233" y="76"/>
                    <a:pt x="233" y="89"/>
                  </a:cubicBezTo>
                  <a:cubicBezTo>
                    <a:pt x="233" y="102"/>
                    <a:pt x="228" y="114"/>
                    <a:pt x="218" y="125"/>
                  </a:cubicBezTo>
                  <a:cubicBezTo>
                    <a:pt x="208" y="136"/>
                    <a:pt x="195" y="144"/>
                    <a:pt x="179" y="151"/>
                  </a:cubicBezTo>
                  <a:cubicBezTo>
                    <a:pt x="162" y="157"/>
                    <a:pt x="144" y="161"/>
                    <a:pt x="125" y="161"/>
                  </a:cubicBezTo>
                  <a:cubicBezTo>
                    <a:pt x="120" y="161"/>
                    <a:pt x="114" y="160"/>
                    <a:pt x="107" y="160"/>
                  </a:cubicBezTo>
                  <a:cubicBezTo>
                    <a:pt x="99" y="159"/>
                    <a:pt x="99" y="159"/>
                    <a:pt x="99" y="159"/>
                  </a:cubicBezTo>
                  <a:cubicBezTo>
                    <a:pt x="93" y="164"/>
                    <a:pt x="93" y="164"/>
                    <a:pt x="93" y="164"/>
                  </a:cubicBezTo>
                  <a:cubicBezTo>
                    <a:pt x="82" y="174"/>
                    <a:pt x="69" y="182"/>
                    <a:pt x="55" y="188"/>
                  </a:cubicBezTo>
                  <a:cubicBezTo>
                    <a:pt x="59" y="180"/>
                    <a:pt x="62" y="172"/>
                    <a:pt x="65" y="164"/>
                  </a:cubicBezTo>
                  <a:cubicBezTo>
                    <a:pt x="68" y="150"/>
                    <a:pt x="68" y="150"/>
                    <a:pt x="68" y="150"/>
                  </a:cubicBezTo>
                  <a:cubicBezTo>
                    <a:pt x="56" y="143"/>
                    <a:pt x="56" y="143"/>
                    <a:pt x="56" y="143"/>
                  </a:cubicBezTo>
                  <a:cubicBezTo>
                    <a:pt x="44" y="137"/>
                    <a:pt x="35" y="128"/>
                    <a:pt x="28" y="119"/>
                  </a:cubicBezTo>
                  <a:cubicBezTo>
                    <a:pt x="21" y="110"/>
                    <a:pt x="18" y="100"/>
                    <a:pt x="18" y="89"/>
                  </a:cubicBezTo>
                  <a:cubicBezTo>
                    <a:pt x="18" y="76"/>
                    <a:pt x="23" y="65"/>
                    <a:pt x="33" y="54"/>
                  </a:cubicBezTo>
                  <a:cubicBezTo>
                    <a:pt x="42" y="43"/>
                    <a:pt x="56" y="34"/>
                    <a:pt x="72" y="27"/>
                  </a:cubicBezTo>
                  <a:cubicBezTo>
                    <a:pt x="89" y="21"/>
                    <a:pt x="106" y="18"/>
                    <a:pt x="125" y="18"/>
                  </a:cubicBezTo>
                  <a:cubicBezTo>
                    <a:pt x="144" y="18"/>
                    <a:pt x="162" y="21"/>
                    <a:pt x="179" y="27"/>
                  </a:cubicBezTo>
                  <a:cubicBezTo>
                    <a:pt x="195" y="34"/>
                    <a:pt x="208" y="43"/>
                    <a:pt x="218" y="54"/>
                  </a:cubicBez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CA" dirty="0"/>
            </a:p>
          </p:txBody>
        </p:sp>
        <p:sp>
          <p:nvSpPr>
            <p:cNvPr id="11" name="Freeform 10" descr="Child Icon"/>
            <p:cNvSpPr>
              <a:spLocks noEditPoints="1"/>
            </p:cNvSpPr>
            <p:nvPr/>
          </p:nvSpPr>
          <p:spPr bwMode="auto">
            <a:xfrm>
              <a:off x="625994" y="2198025"/>
              <a:ext cx="434045" cy="610008"/>
            </a:xfrm>
            <a:custGeom>
              <a:avLst/>
              <a:gdLst>
                <a:gd name="T0" fmla="*/ 47 w 94"/>
                <a:gd name="T1" fmla="*/ 0 h 132"/>
                <a:gd name="T2" fmla="*/ 34 w 94"/>
                <a:gd name="T3" fmla="*/ 6 h 132"/>
                <a:gd name="T4" fmla="*/ 29 w 94"/>
                <a:gd name="T5" fmla="*/ 18 h 132"/>
                <a:gd name="T6" fmla="*/ 34 w 94"/>
                <a:gd name="T7" fmla="*/ 31 h 132"/>
                <a:gd name="T8" fmla="*/ 47 w 94"/>
                <a:gd name="T9" fmla="*/ 37 h 132"/>
                <a:gd name="T10" fmla="*/ 60 w 94"/>
                <a:gd name="T11" fmla="*/ 31 h 132"/>
                <a:gd name="T12" fmla="*/ 65 w 94"/>
                <a:gd name="T13" fmla="*/ 18 h 132"/>
                <a:gd name="T14" fmla="*/ 60 w 94"/>
                <a:gd name="T15" fmla="*/ 6 h 132"/>
                <a:gd name="T16" fmla="*/ 47 w 94"/>
                <a:gd name="T17" fmla="*/ 0 h 132"/>
                <a:gd name="T18" fmla="*/ 94 w 94"/>
                <a:gd name="T19" fmla="*/ 26 h 132"/>
                <a:gd name="T20" fmla="*/ 92 w 94"/>
                <a:gd name="T21" fmla="*/ 21 h 132"/>
                <a:gd name="T22" fmla="*/ 86 w 94"/>
                <a:gd name="T23" fmla="*/ 18 h 132"/>
                <a:gd name="T24" fmla="*/ 80 w 94"/>
                <a:gd name="T25" fmla="*/ 21 h 132"/>
                <a:gd name="T26" fmla="*/ 62 w 94"/>
                <a:gd name="T27" fmla="*/ 39 h 132"/>
                <a:gd name="T28" fmla="*/ 32 w 94"/>
                <a:gd name="T29" fmla="*/ 39 h 132"/>
                <a:gd name="T30" fmla="*/ 13 w 94"/>
                <a:gd name="T31" fmla="*/ 21 h 132"/>
                <a:gd name="T32" fmla="*/ 8 w 94"/>
                <a:gd name="T33" fmla="*/ 18 h 132"/>
                <a:gd name="T34" fmla="*/ 2 w 94"/>
                <a:gd name="T35" fmla="*/ 21 h 132"/>
                <a:gd name="T36" fmla="*/ 0 w 94"/>
                <a:gd name="T37" fmla="*/ 26 h 132"/>
                <a:gd name="T38" fmla="*/ 2 w 94"/>
                <a:gd name="T39" fmla="*/ 32 h 132"/>
                <a:gd name="T40" fmla="*/ 26 w 94"/>
                <a:gd name="T41" fmla="*/ 55 h 132"/>
                <a:gd name="T42" fmla="*/ 26 w 94"/>
                <a:gd name="T43" fmla="*/ 123 h 132"/>
                <a:gd name="T44" fmla="*/ 29 w 94"/>
                <a:gd name="T45" fmla="*/ 129 h 132"/>
                <a:gd name="T46" fmla="*/ 35 w 94"/>
                <a:gd name="T47" fmla="*/ 132 h 132"/>
                <a:gd name="T48" fmla="*/ 42 w 94"/>
                <a:gd name="T49" fmla="*/ 129 h 132"/>
                <a:gd name="T50" fmla="*/ 44 w 94"/>
                <a:gd name="T51" fmla="*/ 123 h 132"/>
                <a:gd name="T52" fmla="*/ 44 w 94"/>
                <a:gd name="T53" fmla="*/ 91 h 132"/>
                <a:gd name="T54" fmla="*/ 50 w 94"/>
                <a:gd name="T55" fmla="*/ 91 h 132"/>
                <a:gd name="T56" fmla="*/ 50 w 94"/>
                <a:gd name="T57" fmla="*/ 123 h 132"/>
                <a:gd name="T58" fmla="*/ 52 w 94"/>
                <a:gd name="T59" fmla="*/ 129 h 132"/>
                <a:gd name="T60" fmla="*/ 59 w 94"/>
                <a:gd name="T61" fmla="*/ 132 h 132"/>
                <a:gd name="T62" fmla="*/ 65 w 94"/>
                <a:gd name="T63" fmla="*/ 129 h 132"/>
                <a:gd name="T64" fmla="*/ 68 w 94"/>
                <a:gd name="T65" fmla="*/ 123 h 132"/>
                <a:gd name="T66" fmla="*/ 68 w 94"/>
                <a:gd name="T67" fmla="*/ 55 h 132"/>
                <a:gd name="T68" fmla="*/ 92 w 94"/>
                <a:gd name="T69" fmla="*/ 32 h 132"/>
                <a:gd name="T70" fmla="*/ 94 w 94"/>
                <a:gd name="T71" fmla="*/ 26 h 1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94" h="132">
                  <a:moveTo>
                    <a:pt x="47" y="0"/>
                  </a:moveTo>
                  <a:cubicBezTo>
                    <a:pt x="42" y="0"/>
                    <a:pt x="38" y="2"/>
                    <a:pt x="34" y="6"/>
                  </a:cubicBezTo>
                  <a:cubicBezTo>
                    <a:pt x="30" y="9"/>
                    <a:pt x="29" y="13"/>
                    <a:pt x="29" y="18"/>
                  </a:cubicBezTo>
                  <a:cubicBezTo>
                    <a:pt x="29" y="23"/>
                    <a:pt x="30" y="28"/>
                    <a:pt x="34" y="31"/>
                  </a:cubicBezTo>
                  <a:cubicBezTo>
                    <a:pt x="38" y="35"/>
                    <a:pt x="42" y="37"/>
                    <a:pt x="47" y="37"/>
                  </a:cubicBezTo>
                  <a:cubicBezTo>
                    <a:pt x="52" y="37"/>
                    <a:pt x="56" y="35"/>
                    <a:pt x="60" y="31"/>
                  </a:cubicBezTo>
                  <a:cubicBezTo>
                    <a:pt x="63" y="28"/>
                    <a:pt x="65" y="23"/>
                    <a:pt x="65" y="18"/>
                  </a:cubicBezTo>
                  <a:cubicBezTo>
                    <a:pt x="65" y="13"/>
                    <a:pt x="63" y="9"/>
                    <a:pt x="60" y="6"/>
                  </a:cubicBezTo>
                  <a:cubicBezTo>
                    <a:pt x="56" y="2"/>
                    <a:pt x="52" y="0"/>
                    <a:pt x="47" y="0"/>
                  </a:cubicBezTo>
                  <a:close/>
                  <a:moveTo>
                    <a:pt x="94" y="26"/>
                  </a:moveTo>
                  <a:cubicBezTo>
                    <a:pt x="94" y="24"/>
                    <a:pt x="93" y="22"/>
                    <a:pt x="92" y="21"/>
                  </a:cubicBezTo>
                  <a:cubicBezTo>
                    <a:pt x="90" y="19"/>
                    <a:pt x="88" y="18"/>
                    <a:pt x="86" y="18"/>
                  </a:cubicBezTo>
                  <a:cubicBezTo>
                    <a:pt x="84" y="18"/>
                    <a:pt x="82" y="19"/>
                    <a:pt x="80" y="21"/>
                  </a:cubicBezTo>
                  <a:cubicBezTo>
                    <a:pt x="62" y="39"/>
                    <a:pt x="62" y="39"/>
                    <a:pt x="62" y="39"/>
                  </a:cubicBezTo>
                  <a:cubicBezTo>
                    <a:pt x="32" y="39"/>
                    <a:pt x="32" y="39"/>
                    <a:pt x="32" y="39"/>
                  </a:cubicBezTo>
                  <a:cubicBezTo>
                    <a:pt x="13" y="21"/>
                    <a:pt x="13" y="21"/>
                    <a:pt x="13" y="21"/>
                  </a:cubicBezTo>
                  <a:cubicBezTo>
                    <a:pt x="12" y="19"/>
                    <a:pt x="10" y="18"/>
                    <a:pt x="8" y="18"/>
                  </a:cubicBezTo>
                  <a:cubicBezTo>
                    <a:pt x="6" y="18"/>
                    <a:pt x="4" y="19"/>
                    <a:pt x="2" y="21"/>
                  </a:cubicBezTo>
                  <a:cubicBezTo>
                    <a:pt x="1" y="22"/>
                    <a:pt x="0" y="24"/>
                    <a:pt x="0" y="26"/>
                  </a:cubicBezTo>
                  <a:cubicBezTo>
                    <a:pt x="0" y="28"/>
                    <a:pt x="1" y="30"/>
                    <a:pt x="2" y="32"/>
                  </a:cubicBezTo>
                  <a:cubicBezTo>
                    <a:pt x="26" y="55"/>
                    <a:pt x="26" y="55"/>
                    <a:pt x="26" y="55"/>
                  </a:cubicBezTo>
                  <a:cubicBezTo>
                    <a:pt x="26" y="123"/>
                    <a:pt x="26" y="123"/>
                    <a:pt x="26" y="123"/>
                  </a:cubicBezTo>
                  <a:cubicBezTo>
                    <a:pt x="26" y="125"/>
                    <a:pt x="27" y="127"/>
                    <a:pt x="29" y="129"/>
                  </a:cubicBezTo>
                  <a:cubicBezTo>
                    <a:pt x="31" y="131"/>
                    <a:pt x="33" y="132"/>
                    <a:pt x="35" y="132"/>
                  </a:cubicBezTo>
                  <a:cubicBezTo>
                    <a:pt x="38" y="132"/>
                    <a:pt x="40" y="131"/>
                    <a:pt x="42" y="129"/>
                  </a:cubicBezTo>
                  <a:cubicBezTo>
                    <a:pt x="43" y="127"/>
                    <a:pt x="44" y="125"/>
                    <a:pt x="44" y="123"/>
                  </a:cubicBezTo>
                  <a:cubicBezTo>
                    <a:pt x="44" y="91"/>
                    <a:pt x="44" y="91"/>
                    <a:pt x="44" y="91"/>
                  </a:cubicBezTo>
                  <a:cubicBezTo>
                    <a:pt x="50" y="91"/>
                    <a:pt x="50" y="91"/>
                    <a:pt x="50" y="91"/>
                  </a:cubicBezTo>
                  <a:cubicBezTo>
                    <a:pt x="50" y="123"/>
                    <a:pt x="50" y="123"/>
                    <a:pt x="50" y="123"/>
                  </a:cubicBezTo>
                  <a:cubicBezTo>
                    <a:pt x="50" y="125"/>
                    <a:pt x="50" y="127"/>
                    <a:pt x="52" y="129"/>
                  </a:cubicBezTo>
                  <a:cubicBezTo>
                    <a:pt x="54" y="131"/>
                    <a:pt x="56" y="132"/>
                    <a:pt x="59" y="132"/>
                  </a:cubicBezTo>
                  <a:cubicBezTo>
                    <a:pt x="61" y="132"/>
                    <a:pt x="63" y="131"/>
                    <a:pt x="65" y="129"/>
                  </a:cubicBezTo>
                  <a:cubicBezTo>
                    <a:pt x="67" y="127"/>
                    <a:pt x="68" y="125"/>
                    <a:pt x="68" y="123"/>
                  </a:cubicBezTo>
                  <a:cubicBezTo>
                    <a:pt x="68" y="55"/>
                    <a:pt x="68" y="55"/>
                    <a:pt x="68" y="55"/>
                  </a:cubicBezTo>
                  <a:cubicBezTo>
                    <a:pt x="92" y="32"/>
                    <a:pt x="92" y="32"/>
                    <a:pt x="92" y="32"/>
                  </a:cubicBezTo>
                  <a:cubicBezTo>
                    <a:pt x="93" y="30"/>
                    <a:pt x="94" y="28"/>
                    <a:pt x="94" y="26"/>
                  </a:cubicBezTo>
                  <a:close/>
                </a:path>
              </a:pathLst>
            </a:custGeom>
            <a:solidFill>
              <a:schemeClr val="accent4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CA" dirty="0"/>
            </a:p>
          </p:txBody>
        </p:sp>
        <p:sp>
          <p:nvSpPr>
            <p:cNvPr id="13" name="Freeform 12" descr="Exchange Icon"/>
            <p:cNvSpPr>
              <a:spLocks noEditPoints="1"/>
            </p:cNvSpPr>
            <p:nvPr/>
          </p:nvSpPr>
          <p:spPr bwMode="auto">
            <a:xfrm>
              <a:off x="582082" y="3058171"/>
              <a:ext cx="571501" cy="430736"/>
            </a:xfrm>
            <a:custGeom>
              <a:avLst/>
              <a:gdLst>
                <a:gd name="T0" fmla="*/ 202 w 203"/>
                <a:gd name="T1" fmla="*/ 38 h 153"/>
                <a:gd name="T2" fmla="*/ 166 w 203"/>
                <a:gd name="T3" fmla="*/ 2 h 153"/>
                <a:gd name="T4" fmla="*/ 163 w 203"/>
                <a:gd name="T5" fmla="*/ 0 h 153"/>
                <a:gd name="T6" fmla="*/ 161 w 203"/>
                <a:gd name="T7" fmla="*/ 0 h 153"/>
                <a:gd name="T8" fmla="*/ 159 w 203"/>
                <a:gd name="T9" fmla="*/ 3 h 153"/>
                <a:gd name="T10" fmla="*/ 159 w 203"/>
                <a:gd name="T11" fmla="*/ 26 h 153"/>
                <a:gd name="T12" fmla="*/ 4 w 203"/>
                <a:gd name="T13" fmla="*/ 26 h 153"/>
                <a:gd name="T14" fmla="*/ 1 w 203"/>
                <a:gd name="T15" fmla="*/ 26 h 153"/>
                <a:gd name="T16" fmla="*/ 0 w 203"/>
                <a:gd name="T17" fmla="*/ 29 h 153"/>
                <a:gd name="T18" fmla="*/ 0 w 203"/>
                <a:gd name="T19" fmla="*/ 50 h 153"/>
                <a:gd name="T20" fmla="*/ 1 w 203"/>
                <a:gd name="T21" fmla="*/ 53 h 153"/>
                <a:gd name="T22" fmla="*/ 4 w 203"/>
                <a:gd name="T23" fmla="*/ 55 h 153"/>
                <a:gd name="T24" fmla="*/ 159 w 203"/>
                <a:gd name="T25" fmla="*/ 55 h 153"/>
                <a:gd name="T26" fmla="*/ 159 w 203"/>
                <a:gd name="T27" fmla="*/ 76 h 153"/>
                <a:gd name="T28" fmla="*/ 161 w 203"/>
                <a:gd name="T29" fmla="*/ 79 h 153"/>
                <a:gd name="T30" fmla="*/ 163 w 203"/>
                <a:gd name="T31" fmla="*/ 80 h 153"/>
                <a:gd name="T32" fmla="*/ 166 w 203"/>
                <a:gd name="T33" fmla="*/ 79 h 153"/>
                <a:gd name="T34" fmla="*/ 202 w 203"/>
                <a:gd name="T35" fmla="*/ 43 h 153"/>
                <a:gd name="T36" fmla="*/ 203 w 203"/>
                <a:gd name="T37" fmla="*/ 40 h 153"/>
                <a:gd name="T38" fmla="*/ 202 w 203"/>
                <a:gd name="T39" fmla="*/ 38 h 153"/>
                <a:gd name="T40" fmla="*/ 202 w 203"/>
                <a:gd name="T41" fmla="*/ 99 h 153"/>
                <a:gd name="T42" fmla="*/ 199 w 203"/>
                <a:gd name="T43" fmla="*/ 97 h 153"/>
                <a:gd name="T44" fmla="*/ 44 w 203"/>
                <a:gd name="T45" fmla="*/ 97 h 153"/>
                <a:gd name="T46" fmla="*/ 44 w 203"/>
                <a:gd name="T47" fmla="*/ 76 h 153"/>
                <a:gd name="T48" fmla="*/ 42 w 203"/>
                <a:gd name="T49" fmla="*/ 73 h 153"/>
                <a:gd name="T50" fmla="*/ 40 w 203"/>
                <a:gd name="T51" fmla="*/ 73 h 153"/>
                <a:gd name="T52" fmla="*/ 38 w 203"/>
                <a:gd name="T53" fmla="*/ 73 h 153"/>
                <a:gd name="T54" fmla="*/ 1 w 203"/>
                <a:gd name="T55" fmla="*/ 110 h 153"/>
                <a:gd name="T56" fmla="*/ 0 w 203"/>
                <a:gd name="T57" fmla="*/ 113 h 153"/>
                <a:gd name="T58" fmla="*/ 1 w 203"/>
                <a:gd name="T59" fmla="*/ 115 h 153"/>
                <a:gd name="T60" fmla="*/ 38 w 203"/>
                <a:gd name="T61" fmla="*/ 152 h 153"/>
                <a:gd name="T62" fmla="*/ 40 w 203"/>
                <a:gd name="T63" fmla="*/ 153 h 153"/>
                <a:gd name="T64" fmla="*/ 42 w 203"/>
                <a:gd name="T65" fmla="*/ 152 h 153"/>
                <a:gd name="T66" fmla="*/ 44 w 203"/>
                <a:gd name="T67" fmla="*/ 149 h 153"/>
                <a:gd name="T68" fmla="*/ 44 w 203"/>
                <a:gd name="T69" fmla="*/ 127 h 153"/>
                <a:gd name="T70" fmla="*/ 199 w 203"/>
                <a:gd name="T71" fmla="*/ 127 h 153"/>
                <a:gd name="T72" fmla="*/ 202 w 203"/>
                <a:gd name="T73" fmla="*/ 126 h 153"/>
                <a:gd name="T74" fmla="*/ 203 w 203"/>
                <a:gd name="T75" fmla="*/ 123 h 153"/>
                <a:gd name="T76" fmla="*/ 203 w 203"/>
                <a:gd name="T77" fmla="*/ 102 h 153"/>
                <a:gd name="T78" fmla="*/ 202 w 203"/>
                <a:gd name="T79" fmla="*/ 99 h 1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03" h="153">
                  <a:moveTo>
                    <a:pt x="202" y="38"/>
                  </a:moveTo>
                  <a:lnTo>
                    <a:pt x="166" y="2"/>
                  </a:lnTo>
                  <a:lnTo>
                    <a:pt x="163" y="0"/>
                  </a:lnTo>
                  <a:lnTo>
                    <a:pt x="161" y="0"/>
                  </a:lnTo>
                  <a:lnTo>
                    <a:pt x="159" y="3"/>
                  </a:lnTo>
                  <a:lnTo>
                    <a:pt x="159" y="26"/>
                  </a:lnTo>
                  <a:lnTo>
                    <a:pt x="4" y="26"/>
                  </a:lnTo>
                  <a:lnTo>
                    <a:pt x="1" y="26"/>
                  </a:lnTo>
                  <a:lnTo>
                    <a:pt x="0" y="29"/>
                  </a:lnTo>
                  <a:lnTo>
                    <a:pt x="0" y="50"/>
                  </a:lnTo>
                  <a:lnTo>
                    <a:pt x="1" y="53"/>
                  </a:lnTo>
                  <a:lnTo>
                    <a:pt x="4" y="55"/>
                  </a:lnTo>
                  <a:lnTo>
                    <a:pt x="159" y="55"/>
                  </a:lnTo>
                  <a:lnTo>
                    <a:pt x="159" y="76"/>
                  </a:lnTo>
                  <a:lnTo>
                    <a:pt x="161" y="79"/>
                  </a:lnTo>
                  <a:lnTo>
                    <a:pt x="163" y="80"/>
                  </a:lnTo>
                  <a:lnTo>
                    <a:pt x="166" y="79"/>
                  </a:lnTo>
                  <a:lnTo>
                    <a:pt x="202" y="43"/>
                  </a:lnTo>
                  <a:lnTo>
                    <a:pt x="203" y="40"/>
                  </a:lnTo>
                  <a:lnTo>
                    <a:pt x="202" y="38"/>
                  </a:lnTo>
                  <a:close/>
                  <a:moveTo>
                    <a:pt x="202" y="99"/>
                  </a:moveTo>
                  <a:lnTo>
                    <a:pt x="199" y="97"/>
                  </a:lnTo>
                  <a:lnTo>
                    <a:pt x="44" y="97"/>
                  </a:lnTo>
                  <a:lnTo>
                    <a:pt x="44" y="76"/>
                  </a:lnTo>
                  <a:lnTo>
                    <a:pt x="42" y="73"/>
                  </a:lnTo>
                  <a:lnTo>
                    <a:pt x="40" y="73"/>
                  </a:lnTo>
                  <a:lnTo>
                    <a:pt x="38" y="73"/>
                  </a:lnTo>
                  <a:lnTo>
                    <a:pt x="1" y="110"/>
                  </a:lnTo>
                  <a:lnTo>
                    <a:pt x="0" y="113"/>
                  </a:lnTo>
                  <a:lnTo>
                    <a:pt x="1" y="115"/>
                  </a:lnTo>
                  <a:lnTo>
                    <a:pt x="38" y="152"/>
                  </a:lnTo>
                  <a:lnTo>
                    <a:pt x="40" y="153"/>
                  </a:lnTo>
                  <a:lnTo>
                    <a:pt x="42" y="152"/>
                  </a:lnTo>
                  <a:lnTo>
                    <a:pt x="44" y="149"/>
                  </a:lnTo>
                  <a:lnTo>
                    <a:pt x="44" y="127"/>
                  </a:lnTo>
                  <a:lnTo>
                    <a:pt x="199" y="127"/>
                  </a:lnTo>
                  <a:lnTo>
                    <a:pt x="202" y="126"/>
                  </a:lnTo>
                  <a:lnTo>
                    <a:pt x="203" y="123"/>
                  </a:lnTo>
                  <a:lnTo>
                    <a:pt x="203" y="102"/>
                  </a:lnTo>
                  <a:lnTo>
                    <a:pt x="202" y="99"/>
                  </a:lnTo>
                  <a:close/>
                </a:path>
              </a:pathLst>
            </a:custGeom>
            <a:solidFill>
              <a:schemeClr val="accent3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CA" dirty="0"/>
            </a:p>
          </p:txBody>
        </p:sp>
        <p:sp>
          <p:nvSpPr>
            <p:cNvPr id="10" name="Freeform 9" descr="ThumbsUpOutline Icon"/>
            <p:cNvSpPr>
              <a:spLocks noEditPoints="1"/>
            </p:cNvSpPr>
            <p:nvPr/>
          </p:nvSpPr>
          <p:spPr bwMode="auto">
            <a:xfrm>
              <a:off x="625995" y="3740728"/>
              <a:ext cx="535789" cy="580502"/>
            </a:xfrm>
            <a:custGeom>
              <a:avLst/>
              <a:gdLst>
                <a:gd name="T0" fmla="*/ 289 w 347"/>
                <a:gd name="T1" fmla="*/ 116 h 376"/>
                <a:gd name="T2" fmla="*/ 260 w 347"/>
                <a:gd name="T3" fmla="*/ 72 h 376"/>
                <a:gd name="T4" fmla="*/ 229 w 347"/>
                <a:gd name="T5" fmla="*/ 8 h 376"/>
                <a:gd name="T6" fmla="*/ 175 w 347"/>
                <a:gd name="T7" fmla="*/ 9 h 376"/>
                <a:gd name="T8" fmla="*/ 154 w 347"/>
                <a:gd name="T9" fmla="*/ 62 h 376"/>
                <a:gd name="T10" fmla="*/ 122 w 347"/>
                <a:gd name="T11" fmla="*/ 110 h 376"/>
                <a:gd name="T12" fmla="*/ 29 w 347"/>
                <a:gd name="T13" fmla="*/ 145 h 376"/>
                <a:gd name="T14" fmla="*/ 0 w 347"/>
                <a:gd name="T15" fmla="*/ 174 h 376"/>
                <a:gd name="T16" fmla="*/ 9 w 347"/>
                <a:gd name="T17" fmla="*/ 338 h 376"/>
                <a:gd name="T18" fmla="*/ 94 w 347"/>
                <a:gd name="T19" fmla="*/ 347 h 376"/>
                <a:gd name="T20" fmla="*/ 174 w 347"/>
                <a:gd name="T21" fmla="*/ 371 h 376"/>
                <a:gd name="T22" fmla="*/ 238 w 347"/>
                <a:gd name="T23" fmla="*/ 376 h 376"/>
                <a:gd name="T24" fmla="*/ 297 w 347"/>
                <a:gd name="T25" fmla="*/ 357 h 376"/>
                <a:gd name="T26" fmla="*/ 330 w 347"/>
                <a:gd name="T27" fmla="*/ 268 h 376"/>
                <a:gd name="T28" fmla="*/ 338 w 347"/>
                <a:gd name="T29" fmla="*/ 226 h 376"/>
                <a:gd name="T30" fmla="*/ 347 w 347"/>
                <a:gd name="T31" fmla="*/ 173 h 376"/>
                <a:gd name="T32" fmla="*/ 313 w 347"/>
                <a:gd name="T33" fmla="*/ 192 h 376"/>
                <a:gd name="T34" fmla="*/ 307 w 347"/>
                <a:gd name="T35" fmla="*/ 213 h 376"/>
                <a:gd name="T36" fmla="*/ 297 w 347"/>
                <a:gd name="T37" fmla="*/ 252 h 376"/>
                <a:gd name="T38" fmla="*/ 297 w 347"/>
                <a:gd name="T39" fmla="*/ 285 h 376"/>
                <a:gd name="T40" fmla="*/ 287 w 347"/>
                <a:gd name="T41" fmla="*/ 309 h 376"/>
                <a:gd name="T42" fmla="*/ 217 w 347"/>
                <a:gd name="T43" fmla="*/ 347 h 376"/>
                <a:gd name="T44" fmla="*/ 133 w 347"/>
                <a:gd name="T45" fmla="*/ 328 h 376"/>
                <a:gd name="T46" fmla="*/ 117 w 347"/>
                <a:gd name="T47" fmla="*/ 323 h 376"/>
                <a:gd name="T48" fmla="*/ 101 w 347"/>
                <a:gd name="T49" fmla="*/ 319 h 376"/>
                <a:gd name="T50" fmla="*/ 87 w 347"/>
                <a:gd name="T51" fmla="*/ 318 h 376"/>
                <a:gd name="T52" fmla="*/ 94 w 347"/>
                <a:gd name="T53" fmla="*/ 174 h 376"/>
                <a:gd name="T54" fmla="*/ 111 w 347"/>
                <a:gd name="T55" fmla="*/ 165 h 376"/>
                <a:gd name="T56" fmla="*/ 129 w 347"/>
                <a:gd name="T57" fmla="*/ 147 h 376"/>
                <a:gd name="T58" fmla="*/ 144 w 347"/>
                <a:gd name="T59" fmla="*/ 129 h 376"/>
                <a:gd name="T60" fmla="*/ 166 w 347"/>
                <a:gd name="T61" fmla="*/ 101 h 376"/>
                <a:gd name="T62" fmla="*/ 187 w 347"/>
                <a:gd name="T63" fmla="*/ 48 h 376"/>
                <a:gd name="T64" fmla="*/ 224 w 347"/>
                <a:gd name="T65" fmla="*/ 40 h 376"/>
                <a:gd name="T66" fmla="*/ 221 w 347"/>
                <a:gd name="T67" fmla="*/ 109 h 376"/>
                <a:gd name="T68" fmla="*/ 289 w 347"/>
                <a:gd name="T69" fmla="*/ 145 h 376"/>
                <a:gd name="T70" fmla="*/ 318 w 347"/>
                <a:gd name="T71" fmla="*/ 174 h 376"/>
                <a:gd name="T72" fmla="*/ 44 w 347"/>
                <a:gd name="T73" fmla="*/ 318 h 376"/>
                <a:gd name="T74" fmla="*/ 29 w 347"/>
                <a:gd name="T75" fmla="*/ 303 h 376"/>
                <a:gd name="T76" fmla="*/ 44 w 347"/>
                <a:gd name="T77" fmla="*/ 289 h 376"/>
                <a:gd name="T78" fmla="*/ 58 w 347"/>
                <a:gd name="T79" fmla="*/ 303 h 376"/>
                <a:gd name="T80" fmla="*/ 44 w 347"/>
                <a:gd name="T81" fmla="*/ 318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347" h="376">
                  <a:moveTo>
                    <a:pt x="330" y="133"/>
                  </a:moveTo>
                  <a:cubicBezTo>
                    <a:pt x="318" y="122"/>
                    <a:pt x="305" y="116"/>
                    <a:pt x="289" y="116"/>
                  </a:cubicBezTo>
                  <a:cubicBezTo>
                    <a:pt x="249" y="116"/>
                    <a:pt x="249" y="116"/>
                    <a:pt x="249" y="116"/>
                  </a:cubicBezTo>
                  <a:cubicBezTo>
                    <a:pt x="257" y="101"/>
                    <a:pt x="260" y="86"/>
                    <a:pt x="260" y="72"/>
                  </a:cubicBezTo>
                  <a:cubicBezTo>
                    <a:pt x="260" y="55"/>
                    <a:pt x="258" y="41"/>
                    <a:pt x="252" y="31"/>
                  </a:cubicBezTo>
                  <a:cubicBezTo>
                    <a:pt x="247" y="20"/>
                    <a:pt x="239" y="13"/>
                    <a:pt x="229" y="8"/>
                  </a:cubicBezTo>
                  <a:cubicBezTo>
                    <a:pt x="219" y="3"/>
                    <a:pt x="208" y="0"/>
                    <a:pt x="195" y="0"/>
                  </a:cubicBezTo>
                  <a:cubicBezTo>
                    <a:pt x="188" y="0"/>
                    <a:pt x="181" y="3"/>
                    <a:pt x="175" y="9"/>
                  </a:cubicBezTo>
                  <a:cubicBezTo>
                    <a:pt x="169" y="15"/>
                    <a:pt x="164" y="23"/>
                    <a:pt x="161" y="33"/>
                  </a:cubicBezTo>
                  <a:cubicBezTo>
                    <a:pt x="158" y="43"/>
                    <a:pt x="156" y="52"/>
                    <a:pt x="154" y="62"/>
                  </a:cubicBezTo>
                  <a:cubicBezTo>
                    <a:pt x="152" y="71"/>
                    <a:pt x="150" y="77"/>
                    <a:pt x="146" y="81"/>
                  </a:cubicBezTo>
                  <a:cubicBezTo>
                    <a:pt x="139" y="89"/>
                    <a:pt x="131" y="98"/>
                    <a:pt x="122" y="110"/>
                  </a:cubicBezTo>
                  <a:cubicBezTo>
                    <a:pt x="107" y="129"/>
                    <a:pt x="96" y="141"/>
                    <a:pt x="91" y="145"/>
                  </a:cubicBezTo>
                  <a:cubicBezTo>
                    <a:pt x="29" y="145"/>
                    <a:pt x="29" y="145"/>
                    <a:pt x="29" y="145"/>
                  </a:cubicBezTo>
                  <a:cubicBezTo>
                    <a:pt x="21" y="145"/>
                    <a:pt x="14" y="147"/>
                    <a:pt x="9" y="153"/>
                  </a:cubicBezTo>
                  <a:cubicBezTo>
                    <a:pt x="3" y="159"/>
                    <a:pt x="0" y="166"/>
                    <a:pt x="0" y="174"/>
                  </a:cubicBezTo>
                  <a:cubicBezTo>
                    <a:pt x="0" y="318"/>
                    <a:pt x="0" y="318"/>
                    <a:pt x="0" y="318"/>
                  </a:cubicBezTo>
                  <a:cubicBezTo>
                    <a:pt x="0" y="326"/>
                    <a:pt x="3" y="333"/>
                    <a:pt x="9" y="338"/>
                  </a:cubicBezTo>
                  <a:cubicBezTo>
                    <a:pt x="14" y="344"/>
                    <a:pt x="21" y="347"/>
                    <a:pt x="29" y="347"/>
                  </a:cubicBezTo>
                  <a:cubicBezTo>
                    <a:pt x="94" y="347"/>
                    <a:pt x="94" y="347"/>
                    <a:pt x="94" y="347"/>
                  </a:cubicBezTo>
                  <a:cubicBezTo>
                    <a:pt x="98" y="347"/>
                    <a:pt x="108" y="350"/>
                    <a:pt x="125" y="356"/>
                  </a:cubicBezTo>
                  <a:cubicBezTo>
                    <a:pt x="144" y="362"/>
                    <a:pt x="160" y="367"/>
                    <a:pt x="174" y="371"/>
                  </a:cubicBezTo>
                  <a:cubicBezTo>
                    <a:pt x="188" y="374"/>
                    <a:pt x="202" y="376"/>
                    <a:pt x="217" y="376"/>
                  </a:cubicBezTo>
                  <a:cubicBezTo>
                    <a:pt x="238" y="376"/>
                    <a:pt x="238" y="376"/>
                    <a:pt x="238" y="376"/>
                  </a:cubicBezTo>
                  <a:cubicBezTo>
                    <a:pt x="246" y="376"/>
                    <a:pt x="246" y="376"/>
                    <a:pt x="246" y="376"/>
                  </a:cubicBezTo>
                  <a:cubicBezTo>
                    <a:pt x="267" y="376"/>
                    <a:pt x="284" y="370"/>
                    <a:pt x="297" y="357"/>
                  </a:cubicBezTo>
                  <a:cubicBezTo>
                    <a:pt x="310" y="345"/>
                    <a:pt x="317" y="329"/>
                    <a:pt x="316" y="308"/>
                  </a:cubicBezTo>
                  <a:cubicBezTo>
                    <a:pt x="325" y="296"/>
                    <a:pt x="330" y="283"/>
                    <a:pt x="330" y="268"/>
                  </a:cubicBezTo>
                  <a:cubicBezTo>
                    <a:pt x="330" y="265"/>
                    <a:pt x="330" y="261"/>
                    <a:pt x="329" y="258"/>
                  </a:cubicBezTo>
                  <a:cubicBezTo>
                    <a:pt x="335" y="248"/>
                    <a:pt x="338" y="237"/>
                    <a:pt x="338" y="226"/>
                  </a:cubicBezTo>
                  <a:cubicBezTo>
                    <a:pt x="338" y="220"/>
                    <a:pt x="337" y="215"/>
                    <a:pt x="336" y="210"/>
                  </a:cubicBezTo>
                  <a:cubicBezTo>
                    <a:pt x="343" y="199"/>
                    <a:pt x="347" y="187"/>
                    <a:pt x="347" y="173"/>
                  </a:cubicBezTo>
                  <a:cubicBezTo>
                    <a:pt x="347" y="158"/>
                    <a:pt x="341" y="144"/>
                    <a:pt x="330" y="133"/>
                  </a:cubicBezTo>
                  <a:close/>
                  <a:moveTo>
                    <a:pt x="313" y="192"/>
                  </a:moveTo>
                  <a:cubicBezTo>
                    <a:pt x="310" y="199"/>
                    <a:pt x="306" y="202"/>
                    <a:pt x="301" y="202"/>
                  </a:cubicBezTo>
                  <a:cubicBezTo>
                    <a:pt x="303" y="205"/>
                    <a:pt x="305" y="209"/>
                    <a:pt x="307" y="213"/>
                  </a:cubicBezTo>
                  <a:cubicBezTo>
                    <a:pt x="308" y="218"/>
                    <a:pt x="309" y="222"/>
                    <a:pt x="309" y="226"/>
                  </a:cubicBezTo>
                  <a:cubicBezTo>
                    <a:pt x="309" y="236"/>
                    <a:pt x="305" y="245"/>
                    <a:pt x="297" y="252"/>
                  </a:cubicBezTo>
                  <a:cubicBezTo>
                    <a:pt x="300" y="257"/>
                    <a:pt x="301" y="263"/>
                    <a:pt x="301" y="268"/>
                  </a:cubicBezTo>
                  <a:cubicBezTo>
                    <a:pt x="301" y="274"/>
                    <a:pt x="300" y="279"/>
                    <a:pt x="297" y="285"/>
                  </a:cubicBezTo>
                  <a:cubicBezTo>
                    <a:pt x="294" y="290"/>
                    <a:pt x="291" y="294"/>
                    <a:pt x="286" y="296"/>
                  </a:cubicBezTo>
                  <a:cubicBezTo>
                    <a:pt x="287" y="301"/>
                    <a:pt x="287" y="305"/>
                    <a:pt x="287" y="309"/>
                  </a:cubicBezTo>
                  <a:cubicBezTo>
                    <a:pt x="287" y="334"/>
                    <a:pt x="273" y="347"/>
                    <a:pt x="244" y="347"/>
                  </a:cubicBezTo>
                  <a:cubicBezTo>
                    <a:pt x="217" y="347"/>
                    <a:pt x="217" y="347"/>
                    <a:pt x="217" y="347"/>
                  </a:cubicBezTo>
                  <a:cubicBezTo>
                    <a:pt x="197" y="347"/>
                    <a:pt x="171" y="341"/>
                    <a:pt x="140" y="330"/>
                  </a:cubicBezTo>
                  <a:cubicBezTo>
                    <a:pt x="139" y="330"/>
                    <a:pt x="137" y="329"/>
                    <a:pt x="133" y="328"/>
                  </a:cubicBezTo>
                  <a:cubicBezTo>
                    <a:pt x="130" y="327"/>
                    <a:pt x="127" y="326"/>
                    <a:pt x="125" y="325"/>
                  </a:cubicBezTo>
                  <a:cubicBezTo>
                    <a:pt x="124" y="325"/>
                    <a:pt x="121" y="324"/>
                    <a:pt x="117" y="323"/>
                  </a:cubicBezTo>
                  <a:cubicBezTo>
                    <a:pt x="114" y="321"/>
                    <a:pt x="111" y="321"/>
                    <a:pt x="109" y="320"/>
                  </a:cubicBezTo>
                  <a:cubicBezTo>
                    <a:pt x="101" y="319"/>
                    <a:pt x="101" y="319"/>
                    <a:pt x="101" y="319"/>
                  </a:cubicBezTo>
                  <a:cubicBezTo>
                    <a:pt x="94" y="318"/>
                    <a:pt x="94" y="318"/>
                    <a:pt x="94" y="318"/>
                  </a:cubicBezTo>
                  <a:cubicBezTo>
                    <a:pt x="87" y="318"/>
                    <a:pt x="87" y="318"/>
                    <a:pt x="87" y="318"/>
                  </a:cubicBezTo>
                  <a:cubicBezTo>
                    <a:pt x="87" y="174"/>
                    <a:pt x="87" y="174"/>
                    <a:pt x="87" y="174"/>
                  </a:cubicBezTo>
                  <a:cubicBezTo>
                    <a:pt x="94" y="174"/>
                    <a:pt x="94" y="174"/>
                    <a:pt x="94" y="174"/>
                  </a:cubicBezTo>
                  <a:cubicBezTo>
                    <a:pt x="102" y="171"/>
                    <a:pt x="102" y="171"/>
                    <a:pt x="102" y="171"/>
                  </a:cubicBezTo>
                  <a:cubicBezTo>
                    <a:pt x="111" y="165"/>
                    <a:pt x="111" y="165"/>
                    <a:pt x="111" y="165"/>
                  </a:cubicBezTo>
                  <a:cubicBezTo>
                    <a:pt x="120" y="157"/>
                    <a:pt x="120" y="157"/>
                    <a:pt x="120" y="157"/>
                  </a:cubicBezTo>
                  <a:cubicBezTo>
                    <a:pt x="123" y="155"/>
                    <a:pt x="126" y="151"/>
                    <a:pt x="129" y="147"/>
                  </a:cubicBezTo>
                  <a:cubicBezTo>
                    <a:pt x="132" y="144"/>
                    <a:pt x="135" y="140"/>
                    <a:pt x="137" y="138"/>
                  </a:cubicBezTo>
                  <a:cubicBezTo>
                    <a:pt x="139" y="136"/>
                    <a:pt x="141" y="132"/>
                    <a:pt x="144" y="129"/>
                  </a:cubicBezTo>
                  <a:cubicBezTo>
                    <a:pt x="147" y="125"/>
                    <a:pt x="148" y="123"/>
                    <a:pt x="149" y="122"/>
                  </a:cubicBezTo>
                  <a:cubicBezTo>
                    <a:pt x="157" y="112"/>
                    <a:pt x="163" y="105"/>
                    <a:pt x="166" y="101"/>
                  </a:cubicBezTo>
                  <a:cubicBezTo>
                    <a:pt x="173" y="95"/>
                    <a:pt x="177" y="87"/>
                    <a:pt x="180" y="77"/>
                  </a:cubicBezTo>
                  <a:cubicBezTo>
                    <a:pt x="183" y="67"/>
                    <a:pt x="185" y="57"/>
                    <a:pt x="187" y="48"/>
                  </a:cubicBezTo>
                  <a:cubicBezTo>
                    <a:pt x="188" y="39"/>
                    <a:pt x="191" y="33"/>
                    <a:pt x="195" y="29"/>
                  </a:cubicBezTo>
                  <a:cubicBezTo>
                    <a:pt x="210" y="29"/>
                    <a:pt x="219" y="33"/>
                    <a:pt x="224" y="40"/>
                  </a:cubicBezTo>
                  <a:cubicBezTo>
                    <a:pt x="229" y="47"/>
                    <a:pt x="231" y="58"/>
                    <a:pt x="231" y="72"/>
                  </a:cubicBezTo>
                  <a:cubicBezTo>
                    <a:pt x="231" y="81"/>
                    <a:pt x="228" y="93"/>
                    <a:pt x="221" y="109"/>
                  </a:cubicBezTo>
                  <a:cubicBezTo>
                    <a:pt x="213" y="124"/>
                    <a:pt x="210" y="136"/>
                    <a:pt x="210" y="145"/>
                  </a:cubicBezTo>
                  <a:cubicBezTo>
                    <a:pt x="289" y="145"/>
                    <a:pt x="289" y="145"/>
                    <a:pt x="289" y="145"/>
                  </a:cubicBezTo>
                  <a:cubicBezTo>
                    <a:pt x="297" y="145"/>
                    <a:pt x="303" y="148"/>
                    <a:pt x="309" y="153"/>
                  </a:cubicBezTo>
                  <a:cubicBezTo>
                    <a:pt x="315" y="159"/>
                    <a:pt x="318" y="166"/>
                    <a:pt x="318" y="174"/>
                  </a:cubicBezTo>
                  <a:cubicBezTo>
                    <a:pt x="318" y="179"/>
                    <a:pt x="316" y="185"/>
                    <a:pt x="313" y="192"/>
                  </a:cubicBezTo>
                  <a:close/>
                  <a:moveTo>
                    <a:pt x="44" y="318"/>
                  </a:moveTo>
                  <a:cubicBezTo>
                    <a:pt x="40" y="318"/>
                    <a:pt x="36" y="316"/>
                    <a:pt x="34" y="314"/>
                  </a:cubicBezTo>
                  <a:cubicBezTo>
                    <a:pt x="31" y="311"/>
                    <a:pt x="29" y="307"/>
                    <a:pt x="29" y="303"/>
                  </a:cubicBezTo>
                  <a:cubicBezTo>
                    <a:pt x="29" y="300"/>
                    <a:pt x="31" y="296"/>
                    <a:pt x="34" y="293"/>
                  </a:cubicBezTo>
                  <a:cubicBezTo>
                    <a:pt x="36" y="290"/>
                    <a:pt x="40" y="289"/>
                    <a:pt x="44" y="289"/>
                  </a:cubicBezTo>
                  <a:cubicBezTo>
                    <a:pt x="48" y="289"/>
                    <a:pt x="51" y="290"/>
                    <a:pt x="54" y="293"/>
                  </a:cubicBezTo>
                  <a:cubicBezTo>
                    <a:pt x="57" y="296"/>
                    <a:pt x="58" y="300"/>
                    <a:pt x="58" y="303"/>
                  </a:cubicBezTo>
                  <a:cubicBezTo>
                    <a:pt x="58" y="307"/>
                    <a:pt x="57" y="311"/>
                    <a:pt x="54" y="314"/>
                  </a:cubicBezTo>
                  <a:cubicBezTo>
                    <a:pt x="51" y="316"/>
                    <a:pt x="48" y="318"/>
                    <a:pt x="44" y="318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CA" dirty="0"/>
            </a:p>
          </p:txBody>
        </p:sp>
        <p:sp>
          <p:nvSpPr>
            <p:cNvPr id="14" name="Freeform 13" descr="Calendar Icon"/>
            <p:cNvSpPr>
              <a:spLocks noEditPoints="1"/>
            </p:cNvSpPr>
            <p:nvPr/>
          </p:nvSpPr>
          <p:spPr bwMode="auto">
            <a:xfrm>
              <a:off x="557267" y="4587647"/>
              <a:ext cx="571501" cy="616857"/>
            </a:xfrm>
            <a:custGeom>
              <a:avLst/>
              <a:gdLst>
                <a:gd name="T0" fmla="*/ 148 w 160"/>
                <a:gd name="T1" fmla="*/ 25 h 173"/>
                <a:gd name="T2" fmla="*/ 135 w 160"/>
                <a:gd name="T3" fmla="*/ 16 h 173"/>
                <a:gd name="T4" fmla="*/ 120 w 160"/>
                <a:gd name="T5" fmla="*/ 0 h 173"/>
                <a:gd name="T6" fmla="*/ 103 w 160"/>
                <a:gd name="T7" fmla="*/ 5 h 173"/>
                <a:gd name="T8" fmla="*/ 98 w 160"/>
                <a:gd name="T9" fmla="*/ 25 h 173"/>
                <a:gd name="T10" fmla="*/ 61 w 160"/>
                <a:gd name="T11" fmla="*/ 16 h 173"/>
                <a:gd name="T12" fmla="*/ 46 w 160"/>
                <a:gd name="T13" fmla="*/ 0 h 173"/>
                <a:gd name="T14" fmla="*/ 29 w 160"/>
                <a:gd name="T15" fmla="*/ 5 h 173"/>
                <a:gd name="T16" fmla="*/ 24 w 160"/>
                <a:gd name="T17" fmla="*/ 25 h 173"/>
                <a:gd name="T18" fmla="*/ 3 w 160"/>
                <a:gd name="T19" fmla="*/ 29 h 173"/>
                <a:gd name="T20" fmla="*/ 0 w 160"/>
                <a:gd name="T21" fmla="*/ 161 h 173"/>
                <a:gd name="T22" fmla="*/ 12 w 160"/>
                <a:gd name="T23" fmla="*/ 173 h 173"/>
                <a:gd name="T24" fmla="*/ 156 w 160"/>
                <a:gd name="T25" fmla="*/ 169 h 173"/>
                <a:gd name="T26" fmla="*/ 160 w 160"/>
                <a:gd name="T27" fmla="*/ 37 h 173"/>
                <a:gd name="T28" fmla="*/ 122 w 160"/>
                <a:gd name="T29" fmla="*/ 46 h 173"/>
                <a:gd name="T30" fmla="*/ 114 w 160"/>
                <a:gd name="T31" fmla="*/ 47 h 173"/>
                <a:gd name="T32" fmla="*/ 111 w 160"/>
                <a:gd name="T33" fmla="*/ 44 h 173"/>
                <a:gd name="T34" fmla="*/ 111 w 160"/>
                <a:gd name="T35" fmla="*/ 14 h 173"/>
                <a:gd name="T36" fmla="*/ 120 w 160"/>
                <a:gd name="T37" fmla="*/ 13 h 173"/>
                <a:gd name="T38" fmla="*/ 123 w 160"/>
                <a:gd name="T39" fmla="*/ 16 h 173"/>
                <a:gd name="T40" fmla="*/ 122 w 160"/>
                <a:gd name="T41" fmla="*/ 46 h 173"/>
                <a:gd name="T42" fmla="*/ 148 w 160"/>
                <a:gd name="T43" fmla="*/ 62 h 173"/>
                <a:gd name="T44" fmla="*/ 120 w 160"/>
                <a:gd name="T45" fmla="*/ 90 h 173"/>
                <a:gd name="T46" fmla="*/ 83 w 160"/>
                <a:gd name="T47" fmla="*/ 62 h 173"/>
                <a:gd name="T48" fmla="*/ 114 w 160"/>
                <a:gd name="T49" fmla="*/ 90 h 173"/>
                <a:gd name="T50" fmla="*/ 83 w 160"/>
                <a:gd name="T51" fmla="*/ 62 h 173"/>
                <a:gd name="T52" fmla="*/ 148 w 160"/>
                <a:gd name="T53" fmla="*/ 96 h 173"/>
                <a:gd name="T54" fmla="*/ 120 w 160"/>
                <a:gd name="T55" fmla="*/ 127 h 173"/>
                <a:gd name="T56" fmla="*/ 48 w 160"/>
                <a:gd name="T57" fmla="*/ 46 h 173"/>
                <a:gd name="T58" fmla="*/ 40 w 160"/>
                <a:gd name="T59" fmla="*/ 47 h 173"/>
                <a:gd name="T60" fmla="*/ 37 w 160"/>
                <a:gd name="T61" fmla="*/ 44 h 173"/>
                <a:gd name="T62" fmla="*/ 37 w 160"/>
                <a:gd name="T63" fmla="*/ 14 h 173"/>
                <a:gd name="T64" fmla="*/ 46 w 160"/>
                <a:gd name="T65" fmla="*/ 13 h 173"/>
                <a:gd name="T66" fmla="*/ 49 w 160"/>
                <a:gd name="T67" fmla="*/ 16 h 173"/>
                <a:gd name="T68" fmla="*/ 48 w 160"/>
                <a:gd name="T69" fmla="*/ 46 h 173"/>
                <a:gd name="T70" fmla="*/ 114 w 160"/>
                <a:gd name="T71" fmla="*/ 96 h 173"/>
                <a:gd name="T72" fmla="*/ 83 w 160"/>
                <a:gd name="T73" fmla="*/ 127 h 173"/>
                <a:gd name="T74" fmla="*/ 120 w 160"/>
                <a:gd name="T75" fmla="*/ 133 h 173"/>
                <a:gd name="T76" fmla="*/ 148 w 160"/>
                <a:gd name="T77" fmla="*/ 161 h 173"/>
                <a:gd name="T78" fmla="*/ 120 w 160"/>
                <a:gd name="T79" fmla="*/ 133 h 173"/>
                <a:gd name="T80" fmla="*/ 77 w 160"/>
                <a:gd name="T81" fmla="*/ 62 h 173"/>
                <a:gd name="T82" fmla="*/ 46 w 160"/>
                <a:gd name="T83" fmla="*/ 90 h 173"/>
                <a:gd name="T84" fmla="*/ 83 w 160"/>
                <a:gd name="T85" fmla="*/ 133 h 173"/>
                <a:gd name="T86" fmla="*/ 114 w 160"/>
                <a:gd name="T87" fmla="*/ 161 h 173"/>
                <a:gd name="T88" fmla="*/ 83 w 160"/>
                <a:gd name="T89" fmla="*/ 133 h 173"/>
                <a:gd name="T90" fmla="*/ 40 w 160"/>
                <a:gd name="T91" fmla="*/ 62 h 173"/>
                <a:gd name="T92" fmla="*/ 12 w 160"/>
                <a:gd name="T93" fmla="*/ 90 h 173"/>
                <a:gd name="T94" fmla="*/ 46 w 160"/>
                <a:gd name="T95" fmla="*/ 96 h 173"/>
                <a:gd name="T96" fmla="*/ 77 w 160"/>
                <a:gd name="T97" fmla="*/ 127 h 173"/>
                <a:gd name="T98" fmla="*/ 46 w 160"/>
                <a:gd name="T99" fmla="*/ 96 h 173"/>
                <a:gd name="T100" fmla="*/ 40 w 160"/>
                <a:gd name="T101" fmla="*/ 96 h 173"/>
                <a:gd name="T102" fmla="*/ 12 w 160"/>
                <a:gd name="T103" fmla="*/ 127 h 173"/>
                <a:gd name="T104" fmla="*/ 46 w 160"/>
                <a:gd name="T105" fmla="*/ 133 h 173"/>
                <a:gd name="T106" fmla="*/ 77 w 160"/>
                <a:gd name="T107" fmla="*/ 161 h 173"/>
                <a:gd name="T108" fmla="*/ 46 w 160"/>
                <a:gd name="T109" fmla="*/ 133 h 173"/>
                <a:gd name="T110" fmla="*/ 40 w 160"/>
                <a:gd name="T111" fmla="*/ 133 h 173"/>
                <a:gd name="T112" fmla="*/ 12 w 160"/>
                <a:gd name="T113" fmla="*/ 161 h 1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60" h="173">
                  <a:moveTo>
                    <a:pt x="156" y="29"/>
                  </a:moveTo>
                  <a:cubicBezTo>
                    <a:pt x="154" y="26"/>
                    <a:pt x="151" y="25"/>
                    <a:pt x="148" y="25"/>
                  </a:cubicBezTo>
                  <a:cubicBezTo>
                    <a:pt x="135" y="25"/>
                    <a:pt x="135" y="25"/>
                    <a:pt x="135" y="25"/>
                  </a:cubicBezTo>
                  <a:cubicBezTo>
                    <a:pt x="135" y="16"/>
                    <a:pt x="135" y="16"/>
                    <a:pt x="135" y="16"/>
                  </a:cubicBezTo>
                  <a:cubicBezTo>
                    <a:pt x="135" y="12"/>
                    <a:pt x="134" y="8"/>
                    <a:pt x="131" y="5"/>
                  </a:cubicBezTo>
                  <a:cubicBezTo>
                    <a:pt x="128" y="2"/>
                    <a:pt x="124" y="0"/>
                    <a:pt x="120" y="0"/>
                  </a:cubicBezTo>
                  <a:cubicBezTo>
                    <a:pt x="114" y="0"/>
                    <a:pt x="114" y="0"/>
                    <a:pt x="114" y="0"/>
                  </a:cubicBezTo>
                  <a:cubicBezTo>
                    <a:pt x="109" y="0"/>
                    <a:pt x="106" y="2"/>
                    <a:pt x="103" y="5"/>
                  </a:cubicBezTo>
                  <a:cubicBezTo>
                    <a:pt x="100" y="8"/>
                    <a:pt x="98" y="12"/>
                    <a:pt x="98" y="16"/>
                  </a:cubicBezTo>
                  <a:cubicBezTo>
                    <a:pt x="98" y="25"/>
                    <a:pt x="98" y="25"/>
                    <a:pt x="98" y="25"/>
                  </a:cubicBezTo>
                  <a:cubicBezTo>
                    <a:pt x="61" y="25"/>
                    <a:pt x="61" y="25"/>
                    <a:pt x="61" y="25"/>
                  </a:cubicBezTo>
                  <a:cubicBezTo>
                    <a:pt x="61" y="16"/>
                    <a:pt x="61" y="16"/>
                    <a:pt x="61" y="16"/>
                  </a:cubicBezTo>
                  <a:cubicBezTo>
                    <a:pt x="61" y="12"/>
                    <a:pt x="60" y="8"/>
                    <a:pt x="57" y="5"/>
                  </a:cubicBezTo>
                  <a:cubicBezTo>
                    <a:pt x="54" y="2"/>
                    <a:pt x="50" y="0"/>
                    <a:pt x="46" y="0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35" y="0"/>
                    <a:pt x="32" y="2"/>
                    <a:pt x="29" y="5"/>
                  </a:cubicBezTo>
                  <a:cubicBezTo>
                    <a:pt x="26" y="8"/>
                    <a:pt x="24" y="12"/>
                    <a:pt x="24" y="16"/>
                  </a:cubicBezTo>
                  <a:cubicBezTo>
                    <a:pt x="24" y="25"/>
                    <a:pt x="24" y="25"/>
                    <a:pt x="24" y="25"/>
                  </a:cubicBezTo>
                  <a:cubicBezTo>
                    <a:pt x="12" y="25"/>
                    <a:pt x="12" y="25"/>
                    <a:pt x="12" y="25"/>
                  </a:cubicBezTo>
                  <a:cubicBezTo>
                    <a:pt x="9" y="25"/>
                    <a:pt x="6" y="26"/>
                    <a:pt x="3" y="29"/>
                  </a:cubicBezTo>
                  <a:cubicBezTo>
                    <a:pt x="1" y="31"/>
                    <a:pt x="0" y="34"/>
                    <a:pt x="0" y="37"/>
                  </a:cubicBezTo>
                  <a:cubicBezTo>
                    <a:pt x="0" y="161"/>
                    <a:pt x="0" y="161"/>
                    <a:pt x="0" y="161"/>
                  </a:cubicBezTo>
                  <a:cubicBezTo>
                    <a:pt x="0" y="164"/>
                    <a:pt x="1" y="167"/>
                    <a:pt x="3" y="169"/>
                  </a:cubicBezTo>
                  <a:cubicBezTo>
                    <a:pt x="6" y="172"/>
                    <a:pt x="9" y="173"/>
                    <a:pt x="12" y="173"/>
                  </a:cubicBezTo>
                  <a:cubicBezTo>
                    <a:pt x="148" y="173"/>
                    <a:pt x="148" y="173"/>
                    <a:pt x="148" y="173"/>
                  </a:cubicBezTo>
                  <a:cubicBezTo>
                    <a:pt x="151" y="173"/>
                    <a:pt x="154" y="172"/>
                    <a:pt x="156" y="169"/>
                  </a:cubicBezTo>
                  <a:cubicBezTo>
                    <a:pt x="159" y="167"/>
                    <a:pt x="160" y="164"/>
                    <a:pt x="160" y="161"/>
                  </a:cubicBezTo>
                  <a:cubicBezTo>
                    <a:pt x="160" y="37"/>
                    <a:pt x="160" y="37"/>
                    <a:pt x="160" y="37"/>
                  </a:cubicBezTo>
                  <a:cubicBezTo>
                    <a:pt x="160" y="34"/>
                    <a:pt x="159" y="31"/>
                    <a:pt x="156" y="29"/>
                  </a:cubicBezTo>
                  <a:close/>
                  <a:moveTo>
                    <a:pt x="122" y="46"/>
                  </a:moveTo>
                  <a:cubicBezTo>
                    <a:pt x="120" y="47"/>
                    <a:pt x="120" y="47"/>
                    <a:pt x="120" y="47"/>
                  </a:cubicBezTo>
                  <a:cubicBezTo>
                    <a:pt x="114" y="47"/>
                    <a:pt x="114" y="47"/>
                    <a:pt x="114" y="47"/>
                  </a:cubicBezTo>
                  <a:cubicBezTo>
                    <a:pt x="111" y="46"/>
                    <a:pt x="111" y="46"/>
                    <a:pt x="111" y="46"/>
                  </a:cubicBezTo>
                  <a:cubicBezTo>
                    <a:pt x="111" y="44"/>
                    <a:pt x="111" y="44"/>
                    <a:pt x="111" y="44"/>
                  </a:cubicBezTo>
                  <a:cubicBezTo>
                    <a:pt x="111" y="16"/>
                    <a:pt x="111" y="16"/>
                    <a:pt x="111" y="16"/>
                  </a:cubicBezTo>
                  <a:cubicBezTo>
                    <a:pt x="111" y="14"/>
                    <a:pt x="111" y="14"/>
                    <a:pt x="111" y="14"/>
                  </a:cubicBezTo>
                  <a:cubicBezTo>
                    <a:pt x="114" y="13"/>
                    <a:pt x="114" y="13"/>
                    <a:pt x="114" y="13"/>
                  </a:cubicBezTo>
                  <a:cubicBezTo>
                    <a:pt x="120" y="13"/>
                    <a:pt x="120" y="13"/>
                    <a:pt x="120" y="13"/>
                  </a:cubicBezTo>
                  <a:cubicBezTo>
                    <a:pt x="122" y="14"/>
                    <a:pt x="122" y="14"/>
                    <a:pt x="122" y="14"/>
                  </a:cubicBezTo>
                  <a:cubicBezTo>
                    <a:pt x="123" y="16"/>
                    <a:pt x="123" y="16"/>
                    <a:pt x="123" y="16"/>
                  </a:cubicBezTo>
                  <a:cubicBezTo>
                    <a:pt x="123" y="44"/>
                    <a:pt x="123" y="44"/>
                    <a:pt x="123" y="44"/>
                  </a:cubicBezTo>
                  <a:lnTo>
                    <a:pt x="122" y="46"/>
                  </a:lnTo>
                  <a:close/>
                  <a:moveTo>
                    <a:pt x="120" y="62"/>
                  </a:moveTo>
                  <a:cubicBezTo>
                    <a:pt x="148" y="62"/>
                    <a:pt x="148" y="62"/>
                    <a:pt x="148" y="62"/>
                  </a:cubicBezTo>
                  <a:cubicBezTo>
                    <a:pt x="148" y="90"/>
                    <a:pt x="148" y="90"/>
                    <a:pt x="148" y="90"/>
                  </a:cubicBezTo>
                  <a:cubicBezTo>
                    <a:pt x="120" y="90"/>
                    <a:pt x="120" y="90"/>
                    <a:pt x="120" y="90"/>
                  </a:cubicBezTo>
                  <a:lnTo>
                    <a:pt x="120" y="62"/>
                  </a:lnTo>
                  <a:close/>
                  <a:moveTo>
                    <a:pt x="83" y="62"/>
                  </a:moveTo>
                  <a:cubicBezTo>
                    <a:pt x="114" y="62"/>
                    <a:pt x="114" y="62"/>
                    <a:pt x="114" y="62"/>
                  </a:cubicBezTo>
                  <a:cubicBezTo>
                    <a:pt x="114" y="90"/>
                    <a:pt x="114" y="90"/>
                    <a:pt x="114" y="90"/>
                  </a:cubicBezTo>
                  <a:cubicBezTo>
                    <a:pt x="83" y="90"/>
                    <a:pt x="83" y="90"/>
                    <a:pt x="83" y="90"/>
                  </a:cubicBezTo>
                  <a:lnTo>
                    <a:pt x="83" y="62"/>
                  </a:lnTo>
                  <a:close/>
                  <a:moveTo>
                    <a:pt x="120" y="96"/>
                  </a:moveTo>
                  <a:cubicBezTo>
                    <a:pt x="148" y="96"/>
                    <a:pt x="148" y="96"/>
                    <a:pt x="148" y="96"/>
                  </a:cubicBezTo>
                  <a:cubicBezTo>
                    <a:pt x="148" y="127"/>
                    <a:pt x="148" y="127"/>
                    <a:pt x="148" y="127"/>
                  </a:cubicBezTo>
                  <a:cubicBezTo>
                    <a:pt x="120" y="127"/>
                    <a:pt x="120" y="127"/>
                    <a:pt x="120" y="127"/>
                  </a:cubicBezTo>
                  <a:lnTo>
                    <a:pt x="120" y="96"/>
                  </a:lnTo>
                  <a:close/>
                  <a:moveTo>
                    <a:pt x="48" y="46"/>
                  </a:moveTo>
                  <a:cubicBezTo>
                    <a:pt x="46" y="47"/>
                    <a:pt x="46" y="47"/>
                    <a:pt x="46" y="47"/>
                  </a:cubicBezTo>
                  <a:cubicBezTo>
                    <a:pt x="40" y="47"/>
                    <a:pt x="40" y="47"/>
                    <a:pt x="40" y="47"/>
                  </a:cubicBezTo>
                  <a:cubicBezTo>
                    <a:pt x="37" y="46"/>
                    <a:pt x="37" y="46"/>
                    <a:pt x="37" y="46"/>
                  </a:cubicBezTo>
                  <a:cubicBezTo>
                    <a:pt x="37" y="44"/>
                    <a:pt x="37" y="44"/>
                    <a:pt x="37" y="44"/>
                  </a:cubicBezTo>
                  <a:cubicBezTo>
                    <a:pt x="37" y="16"/>
                    <a:pt x="37" y="16"/>
                    <a:pt x="37" y="16"/>
                  </a:cubicBezTo>
                  <a:cubicBezTo>
                    <a:pt x="37" y="14"/>
                    <a:pt x="37" y="14"/>
                    <a:pt x="37" y="14"/>
                  </a:cubicBezTo>
                  <a:cubicBezTo>
                    <a:pt x="40" y="13"/>
                    <a:pt x="40" y="13"/>
                    <a:pt x="40" y="13"/>
                  </a:cubicBezTo>
                  <a:cubicBezTo>
                    <a:pt x="46" y="13"/>
                    <a:pt x="46" y="13"/>
                    <a:pt x="46" y="13"/>
                  </a:cubicBezTo>
                  <a:cubicBezTo>
                    <a:pt x="48" y="14"/>
                    <a:pt x="48" y="14"/>
                    <a:pt x="48" y="14"/>
                  </a:cubicBezTo>
                  <a:cubicBezTo>
                    <a:pt x="49" y="16"/>
                    <a:pt x="49" y="16"/>
                    <a:pt x="49" y="16"/>
                  </a:cubicBezTo>
                  <a:cubicBezTo>
                    <a:pt x="49" y="44"/>
                    <a:pt x="49" y="44"/>
                    <a:pt x="49" y="44"/>
                  </a:cubicBezTo>
                  <a:lnTo>
                    <a:pt x="48" y="46"/>
                  </a:lnTo>
                  <a:close/>
                  <a:moveTo>
                    <a:pt x="83" y="96"/>
                  </a:moveTo>
                  <a:cubicBezTo>
                    <a:pt x="114" y="96"/>
                    <a:pt x="114" y="96"/>
                    <a:pt x="114" y="96"/>
                  </a:cubicBezTo>
                  <a:cubicBezTo>
                    <a:pt x="114" y="127"/>
                    <a:pt x="114" y="127"/>
                    <a:pt x="114" y="127"/>
                  </a:cubicBezTo>
                  <a:cubicBezTo>
                    <a:pt x="83" y="127"/>
                    <a:pt x="83" y="127"/>
                    <a:pt x="83" y="127"/>
                  </a:cubicBezTo>
                  <a:lnTo>
                    <a:pt x="83" y="96"/>
                  </a:lnTo>
                  <a:close/>
                  <a:moveTo>
                    <a:pt x="120" y="133"/>
                  </a:moveTo>
                  <a:cubicBezTo>
                    <a:pt x="148" y="133"/>
                    <a:pt x="148" y="133"/>
                    <a:pt x="148" y="133"/>
                  </a:cubicBezTo>
                  <a:cubicBezTo>
                    <a:pt x="148" y="161"/>
                    <a:pt x="148" y="161"/>
                    <a:pt x="148" y="161"/>
                  </a:cubicBezTo>
                  <a:cubicBezTo>
                    <a:pt x="120" y="161"/>
                    <a:pt x="120" y="161"/>
                    <a:pt x="120" y="161"/>
                  </a:cubicBezTo>
                  <a:lnTo>
                    <a:pt x="120" y="133"/>
                  </a:lnTo>
                  <a:close/>
                  <a:moveTo>
                    <a:pt x="46" y="62"/>
                  </a:moveTo>
                  <a:cubicBezTo>
                    <a:pt x="77" y="62"/>
                    <a:pt x="77" y="62"/>
                    <a:pt x="77" y="62"/>
                  </a:cubicBezTo>
                  <a:cubicBezTo>
                    <a:pt x="77" y="90"/>
                    <a:pt x="77" y="90"/>
                    <a:pt x="77" y="90"/>
                  </a:cubicBezTo>
                  <a:cubicBezTo>
                    <a:pt x="46" y="90"/>
                    <a:pt x="46" y="90"/>
                    <a:pt x="46" y="90"/>
                  </a:cubicBezTo>
                  <a:lnTo>
                    <a:pt x="46" y="62"/>
                  </a:lnTo>
                  <a:close/>
                  <a:moveTo>
                    <a:pt x="83" y="133"/>
                  </a:moveTo>
                  <a:cubicBezTo>
                    <a:pt x="114" y="133"/>
                    <a:pt x="114" y="133"/>
                    <a:pt x="114" y="133"/>
                  </a:cubicBezTo>
                  <a:cubicBezTo>
                    <a:pt x="114" y="161"/>
                    <a:pt x="114" y="161"/>
                    <a:pt x="114" y="161"/>
                  </a:cubicBezTo>
                  <a:cubicBezTo>
                    <a:pt x="83" y="161"/>
                    <a:pt x="83" y="161"/>
                    <a:pt x="83" y="161"/>
                  </a:cubicBezTo>
                  <a:lnTo>
                    <a:pt x="83" y="133"/>
                  </a:lnTo>
                  <a:close/>
                  <a:moveTo>
                    <a:pt x="12" y="62"/>
                  </a:moveTo>
                  <a:cubicBezTo>
                    <a:pt x="40" y="62"/>
                    <a:pt x="40" y="62"/>
                    <a:pt x="40" y="62"/>
                  </a:cubicBezTo>
                  <a:cubicBezTo>
                    <a:pt x="40" y="90"/>
                    <a:pt x="40" y="90"/>
                    <a:pt x="40" y="90"/>
                  </a:cubicBezTo>
                  <a:cubicBezTo>
                    <a:pt x="12" y="90"/>
                    <a:pt x="12" y="90"/>
                    <a:pt x="12" y="90"/>
                  </a:cubicBezTo>
                  <a:lnTo>
                    <a:pt x="12" y="62"/>
                  </a:lnTo>
                  <a:close/>
                  <a:moveTo>
                    <a:pt x="46" y="96"/>
                  </a:moveTo>
                  <a:cubicBezTo>
                    <a:pt x="77" y="96"/>
                    <a:pt x="77" y="96"/>
                    <a:pt x="77" y="96"/>
                  </a:cubicBezTo>
                  <a:cubicBezTo>
                    <a:pt x="77" y="127"/>
                    <a:pt x="77" y="127"/>
                    <a:pt x="77" y="127"/>
                  </a:cubicBezTo>
                  <a:cubicBezTo>
                    <a:pt x="46" y="127"/>
                    <a:pt x="46" y="127"/>
                    <a:pt x="46" y="127"/>
                  </a:cubicBezTo>
                  <a:lnTo>
                    <a:pt x="46" y="96"/>
                  </a:lnTo>
                  <a:close/>
                  <a:moveTo>
                    <a:pt x="12" y="96"/>
                  </a:moveTo>
                  <a:cubicBezTo>
                    <a:pt x="40" y="96"/>
                    <a:pt x="40" y="96"/>
                    <a:pt x="40" y="96"/>
                  </a:cubicBezTo>
                  <a:cubicBezTo>
                    <a:pt x="40" y="127"/>
                    <a:pt x="40" y="127"/>
                    <a:pt x="40" y="127"/>
                  </a:cubicBezTo>
                  <a:cubicBezTo>
                    <a:pt x="12" y="127"/>
                    <a:pt x="12" y="127"/>
                    <a:pt x="12" y="127"/>
                  </a:cubicBezTo>
                  <a:lnTo>
                    <a:pt x="12" y="96"/>
                  </a:lnTo>
                  <a:close/>
                  <a:moveTo>
                    <a:pt x="46" y="133"/>
                  </a:moveTo>
                  <a:cubicBezTo>
                    <a:pt x="77" y="133"/>
                    <a:pt x="77" y="133"/>
                    <a:pt x="77" y="133"/>
                  </a:cubicBezTo>
                  <a:cubicBezTo>
                    <a:pt x="77" y="161"/>
                    <a:pt x="77" y="161"/>
                    <a:pt x="77" y="161"/>
                  </a:cubicBezTo>
                  <a:cubicBezTo>
                    <a:pt x="46" y="161"/>
                    <a:pt x="46" y="161"/>
                    <a:pt x="46" y="161"/>
                  </a:cubicBezTo>
                  <a:lnTo>
                    <a:pt x="46" y="133"/>
                  </a:lnTo>
                  <a:close/>
                  <a:moveTo>
                    <a:pt x="12" y="133"/>
                  </a:moveTo>
                  <a:cubicBezTo>
                    <a:pt x="40" y="133"/>
                    <a:pt x="40" y="133"/>
                    <a:pt x="40" y="133"/>
                  </a:cubicBezTo>
                  <a:cubicBezTo>
                    <a:pt x="40" y="161"/>
                    <a:pt x="40" y="161"/>
                    <a:pt x="40" y="161"/>
                  </a:cubicBezTo>
                  <a:cubicBezTo>
                    <a:pt x="12" y="161"/>
                    <a:pt x="12" y="161"/>
                    <a:pt x="12" y="161"/>
                  </a:cubicBezTo>
                  <a:lnTo>
                    <a:pt x="12" y="133"/>
                  </a:lnTo>
                  <a:close/>
                </a:path>
              </a:pathLst>
            </a:custGeom>
            <a:solidFill>
              <a:srgbClr val="99999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CA" dirty="0"/>
            </a:p>
          </p:txBody>
        </p:sp>
        <p:sp>
          <p:nvSpPr>
            <p:cNvPr id="12" name="Freeform 11" descr="Checkbox Icon"/>
            <p:cNvSpPr>
              <a:spLocks noEditPoints="1"/>
            </p:cNvSpPr>
            <p:nvPr/>
          </p:nvSpPr>
          <p:spPr bwMode="auto">
            <a:xfrm>
              <a:off x="590283" y="5486247"/>
              <a:ext cx="571501" cy="483794"/>
            </a:xfrm>
            <a:custGeom>
              <a:avLst/>
              <a:gdLst>
                <a:gd name="T0" fmla="*/ 171 w 171"/>
                <a:gd name="T1" fmla="*/ 26 h 145"/>
                <a:gd name="T2" fmla="*/ 169 w 171"/>
                <a:gd name="T3" fmla="*/ 20 h 145"/>
                <a:gd name="T4" fmla="*/ 157 w 171"/>
                <a:gd name="T5" fmla="*/ 9 h 145"/>
                <a:gd name="T6" fmla="*/ 151 w 171"/>
                <a:gd name="T7" fmla="*/ 7 h 145"/>
                <a:gd name="T8" fmla="*/ 146 w 171"/>
                <a:gd name="T9" fmla="*/ 9 h 145"/>
                <a:gd name="T10" fmla="*/ 79 w 171"/>
                <a:gd name="T11" fmla="*/ 76 h 145"/>
                <a:gd name="T12" fmla="*/ 52 w 171"/>
                <a:gd name="T13" fmla="*/ 48 h 145"/>
                <a:gd name="T14" fmla="*/ 46 w 171"/>
                <a:gd name="T15" fmla="*/ 46 h 145"/>
                <a:gd name="T16" fmla="*/ 40 w 171"/>
                <a:gd name="T17" fmla="*/ 48 h 145"/>
                <a:gd name="T18" fmla="*/ 29 w 171"/>
                <a:gd name="T19" fmla="*/ 60 h 145"/>
                <a:gd name="T20" fmla="*/ 27 w 171"/>
                <a:gd name="T21" fmla="*/ 66 h 145"/>
                <a:gd name="T22" fmla="*/ 29 w 171"/>
                <a:gd name="T23" fmla="*/ 71 h 145"/>
                <a:gd name="T24" fmla="*/ 73 w 171"/>
                <a:gd name="T25" fmla="*/ 116 h 145"/>
                <a:gd name="T26" fmla="*/ 79 w 171"/>
                <a:gd name="T27" fmla="*/ 118 h 145"/>
                <a:gd name="T28" fmla="*/ 85 w 171"/>
                <a:gd name="T29" fmla="*/ 116 h 145"/>
                <a:gd name="T30" fmla="*/ 169 w 171"/>
                <a:gd name="T31" fmla="*/ 32 h 145"/>
                <a:gd name="T32" fmla="*/ 171 w 171"/>
                <a:gd name="T33" fmla="*/ 26 h 145"/>
                <a:gd name="T34" fmla="*/ 143 w 171"/>
                <a:gd name="T35" fmla="*/ 79 h 145"/>
                <a:gd name="T36" fmla="*/ 142 w 171"/>
                <a:gd name="T37" fmla="*/ 79 h 145"/>
                <a:gd name="T38" fmla="*/ 139 w 171"/>
                <a:gd name="T39" fmla="*/ 80 h 145"/>
                <a:gd name="T40" fmla="*/ 133 w 171"/>
                <a:gd name="T41" fmla="*/ 87 h 145"/>
                <a:gd name="T42" fmla="*/ 132 w 171"/>
                <a:gd name="T43" fmla="*/ 89 h 145"/>
                <a:gd name="T44" fmla="*/ 132 w 171"/>
                <a:gd name="T45" fmla="*/ 115 h 145"/>
                <a:gd name="T46" fmla="*/ 127 w 171"/>
                <a:gd name="T47" fmla="*/ 127 h 145"/>
                <a:gd name="T48" fmla="*/ 115 w 171"/>
                <a:gd name="T49" fmla="*/ 131 h 145"/>
                <a:gd name="T50" fmla="*/ 30 w 171"/>
                <a:gd name="T51" fmla="*/ 131 h 145"/>
                <a:gd name="T52" fmla="*/ 18 w 171"/>
                <a:gd name="T53" fmla="*/ 127 h 145"/>
                <a:gd name="T54" fmla="*/ 13 w 171"/>
                <a:gd name="T55" fmla="*/ 115 h 145"/>
                <a:gd name="T56" fmla="*/ 13 w 171"/>
                <a:gd name="T57" fmla="*/ 30 h 145"/>
                <a:gd name="T58" fmla="*/ 18 w 171"/>
                <a:gd name="T59" fmla="*/ 18 h 145"/>
                <a:gd name="T60" fmla="*/ 30 w 171"/>
                <a:gd name="T61" fmla="*/ 13 h 145"/>
                <a:gd name="T62" fmla="*/ 115 w 171"/>
                <a:gd name="T63" fmla="*/ 13 h 145"/>
                <a:gd name="T64" fmla="*/ 120 w 171"/>
                <a:gd name="T65" fmla="*/ 14 h 145"/>
                <a:gd name="T66" fmla="*/ 121 w 171"/>
                <a:gd name="T67" fmla="*/ 14 h 145"/>
                <a:gd name="T68" fmla="*/ 123 w 171"/>
                <a:gd name="T69" fmla="*/ 13 h 145"/>
                <a:gd name="T70" fmla="*/ 128 w 171"/>
                <a:gd name="T71" fmla="*/ 8 h 145"/>
                <a:gd name="T72" fmla="*/ 129 w 171"/>
                <a:gd name="T73" fmla="*/ 5 h 145"/>
                <a:gd name="T74" fmla="*/ 127 w 171"/>
                <a:gd name="T75" fmla="*/ 3 h 145"/>
                <a:gd name="T76" fmla="*/ 115 w 171"/>
                <a:gd name="T77" fmla="*/ 0 h 145"/>
                <a:gd name="T78" fmla="*/ 30 w 171"/>
                <a:gd name="T79" fmla="*/ 0 h 145"/>
                <a:gd name="T80" fmla="*/ 9 w 171"/>
                <a:gd name="T81" fmla="*/ 9 h 145"/>
                <a:gd name="T82" fmla="*/ 0 w 171"/>
                <a:gd name="T83" fmla="*/ 30 h 145"/>
                <a:gd name="T84" fmla="*/ 0 w 171"/>
                <a:gd name="T85" fmla="*/ 115 h 145"/>
                <a:gd name="T86" fmla="*/ 9 w 171"/>
                <a:gd name="T87" fmla="*/ 136 h 145"/>
                <a:gd name="T88" fmla="*/ 30 w 171"/>
                <a:gd name="T89" fmla="*/ 145 h 145"/>
                <a:gd name="T90" fmla="*/ 115 w 171"/>
                <a:gd name="T91" fmla="*/ 145 h 145"/>
                <a:gd name="T92" fmla="*/ 136 w 171"/>
                <a:gd name="T93" fmla="*/ 136 h 145"/>
                <a:gd name="T94" fmla="*/ 145 w 171"/>
                <a:gd name="T95" fmla="*/ 115 h 145"/>
                <a:gd name="T96" fmla="*/ 145 w 171"/>
                <a:gd name="T97" fmla="*/ 82 h 145"/>
                <a:gd name="T98" fmla="*/ 143 w 171"/>
                <a:gd name="T99" fmla="*/ 79 h 1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1" h="145">
                  <a:moveTo>
                    <a:pt x="171" y="26"/>
                  </a:moveTo>
                  <a:cubicBezTo>
                    <a:pt x="171" y="24"/>
                    <a:pt x="170" y="22"/>
                    <a:pt x="169" y="20"/>
                  </a:cubicBezTo>
                  <a:cubicBezTo>
                    <a:pt x="157" y="9"/>
                    <a:pt x="157" y="9"/>
                    <a:pt x="157" y="9"/>
                  </a:cubicBezTo>
                  <a:cubicBezTo>
                    <a:pt x="156" y="7"/>
                    <a:pt x="154" y="7"/>
                    <a:pt x="151" y="7"/>
                  </a:cubicBezTo>
                  <a:cubicBezTo>
                    <a:pt x="149" y="7"/>
                    <a:pt x="147" y="7"/>
                    <a:pt x="146" y="9"/>
                  </a:cubicBezTo>
                  <a:cubicBezTo>
                    <a:pt x="79" y="76"/>
                    <a:pt x="79" y="76"/>
                    <a:pt x="79" y="76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0" y="47"/>
                    <a:pt x="49" y="46"/>
                    <a:pt x="46" y="46"/>
                  </a:cubicBezTo>
                  <a:cubicBezTo>
                    <a:pt x="44" y="46"/>
                    <a:pt x="42" y="47"/>
                    <a:pt x="40" y="48"/>
                  </a:cubicBezTo>
                  <a:cubicBezTo>
                    <a:pt x="29" y="60"/>
                    <a:pt x="29" y="60"/>
                    <a:pt x="29" y="60"/>
                  </a:cubicBezTo>
                  <a:cubicBezTo>
                    <a:pt x="27" y="61"/>
                    <a:pt x="27" y="63"/>
                    <a:pt x="27" y="66"/>
                  </a:cubicBezTo>
                  <a:cubicBezTo>
                    <a:pt x="27" y="68"/>
                    <a:pt x="27" y="70"/>
                    <a:pt x="29" y="71"/>
                  </a:cubicBezTo>
                  <a:cubicBezTo>
                    <a:pt x="73" y="116"/>
                    <a:pt x="73" y="116"/>
                    <a:pt x="73" y="116"/>
                  </a:cubicBezTo>
                  <a:cubicBezTo>
                    <a:pt x="75" y="117"/>
                    <a:pt x="77" y="118"/>
                    <a:pt x="79" y="118"/>
                  </a:cubicBezTo>
                  <a:cubicBezTo>
                    <a:pt x="81" y="118"/>
                    <a:pt x="83" y="117"/>
                    <a:pt x="85" y="116"/>
                  </a:cubicBezTo>
                  <a:cubicBezTo>
                    <a:pt x="169" y="32"/>
                    <a:pt x="169" y="32"/>
                    <a:pt x="169" y="32"/>
                  </a:cubicBezTo>
                  <a:cubicBezTo>
                    <a:pt x="170" y="30"/>
                    <a:pt x="171" y="28"/>
                    <a:pt x="171" y="26"/>
                  </a:cubicBezTo>
                  <a:close/>
                  <a:moveTo>
                    <a:pt x="143" y="79"/>
                  </a:moveTo>
                  <a:cubicBezTo>
                    <a:pt x="142" y="79"/>
                    <a:pt x="142" y="79"/>
                    <a:pt x="142" y="79"/>
                  </a:cubicBezTo>
                  <a:cubicBezTo>
                    <a:pt x="139" y="80"/>
                    <a:pt x="139" y="80"/>
                    <a:pt x="139" y="80"/>
                  </a:cubicBezTo>
                  <a:cubicBezTo>
                    <a:pt x="133" y="87"/>
                    <a:pt x="133" y="87"/>
                    <a:pt x="133" y="87"/>
                  </a:cubicBezTo>
                  <a:cubicBezTo>
                    <a:pt x="132" y="89"/>
                    <a:pt x="132" y="89"/>
                    <a:pt x="132" y="89"/>
                  </a:cubicBezTo>
                  <a:cubicBezTo>
                    <a:pt x="132" y="115"/>
                    <a:pt x="132" y="115"/>
                    <a:pt x="132" y="115"/>
                  </a:cubicBezTo>
                  <a:cubicBezTo>
                    <a:pt x="132" y="119"/>
                    <a:pt x="130" y="123"/>
                    <a:pt x="127" y="127"/>
                  </a:cubicBezTo>
                  <a:cubicBezTo>
                    <a:pt x="124" y="130"/>
                    <a:pt x="120" y="131"/>
                    <a:pt x="115" y="131"/>
                  </a:cubicBezTo>
                  <a:cubicBezTo>
                    <a:pt x="30" y="131"/>
                    <a:pt x="30" y="131"/>
                    <a:pt x="30" y="131"/>
                  </a:cubicBezTo>
                  <a:cubicBezTo>
                    <a:pt x="25" y="131"/>
                    <a:pt x="21" y="130"/>
                    <a:pt x="18" y="127"/>
                  </a:cubicBezTo>
                  <a:cubicBezTo>
                    <a:pt x="15" y="123"/>
                    <a:pt x="13" y="119"/>
                    <a:pt x="13" y="115"/>
                  </a:cubicBezTo>
                  <a:cubicBezTo>
                    <a:pt x="13" y="30"/>
                    <a:pt x="13" y="30"/>
                    <a:pt x="13" y="30"/>
                  </a:cubicBezTo>
                  <a:cubicBezTo>
                    <a:pt x="13" y="25"/>
                    <a:pt x="15" y="21"/>
                    <a:pt x="18" y="18"/>
                  </a:cubicBezTo>
                  <a:cubicBezTo>
                    <a:pt x="21" y="15"/>
                    <a:pt x="25" y="13"/>
                    <a:pt x="30" y="13"/>
                  </a:cubicBezTo>
                  <a:cubicBezTo>
                    <a:pt x="115" y="13"/>
                    <a:pt x="115" y="13"/>
                    <a:pt x="115" y="13"/>
                  </a:cubicBezTo>
                  <a:cubicBezTo>
                    <a:pt x="117" y="13"/>
                    <a:pt x="118" y="13"/>
                    <a:pt x="120" y="14"/>
                  </a:cubicBezTo>
                  <a:cubicBezTo>
                    <a:pt x="121" y="14"/>
                    <a:pt x="121" y="14"/>
                    <a:pt x="121" y="14"/>
                  </a:cubicBezTo>
                  <a:cubicBezTo>
                    <a:pt x="123" y="13"/>
                    <a:pt x="123" y="13"/>
                    <a:pt x="123" y="13"/>
                  </a:cubicBezTo>
                  <a:cubicBezTo>
                    <a:pt x="128" y="8"/>
                    <a:pt x="128" y="8"/>
                    <a:pt x="128" y="8"/>
                  </a:cubicBezTo>
                  <a:cubicBezTo>
                    <a:pt x="129" y="5"/>
                    <a:pt x="129" y="5"/>
                    <a:pt x="129" y="5"/>
                  </a:cubicBezTo>
                  <a:cubicBezTo>
                    <a:pt x="127" y="3"/>
                    <a:pt x="127" y="3"/>
                    <a:pt x="127" y="3"/>
                  </a:cubicBezTo>
                  <a:cubicBezTo>
                    <a:pt x="124" y="1"/>
                    <a:pt x="120" y="0"/>
                    <a:pt x="115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2" y="0"/>
                    <a:pt x="15" y="3"/>
                    <a:pt x="9" y="9"/>
                  </a:cubicBezTo>
                  <a:cubicBezTo>
                    <a:pt x="3" y="14"/>
                    <a:pt x="0" y="21"/>
                    <a:pt x="0" y="30"/>
                  </a:cubicBezTo>
                  <a:cubicBezTo>
                    <a:pt x="0" y="115"/>
                    <a:pt x="0" y="115"/>
                    <a:pt x="0" y="115"/>
                  </a:cubicBezTo>
                  <a:cubicBezTo>
                    <a:pt x="0" y="123"/>
                    <a:pt x="3" y="130"/>
                    <a:pt x="9" y="136"/>
                  </a:cubicBezTo>
                  <a:cubicBezTo>
                    <a:pt x="15" y="142"/>
                    <a:pt x="22" y="145"/>
                    <a:pt x="30" y="145"/>
                  </a:cubicBezTo>
                  <a:cubicBezTo>
                    <a:pt x="115" y="145"/>
                    <a:pt x="115" y="145"/>
                    <a:pt x="115" y="145"/>
                  </a:cubicBezTo>
                  <a:cubicBezTo>
                    <a:pt x="123" y="145"/>
                    <a:pt x="130" y="142"/>
                    <a:pt x="136" y="136"/>
                  </a:cubicBezTo>
                  <a:cubicBezTo>
                    <a:pt x="142" y="130"/>
                    <a:pt x="145" y="123"/>
                    <a:pt x="145" y="115"/>
                  </a:cubicBezTo>
                  <a:cubicBezTo>
                    <a:pt x="145" y="82"/>
                    <a:pt x="145" y="82"/>
                    <a:pt x="145" y="82"/>
                  </a:cubicBezTo>
                  <a:lnTo>
                    <a:pt x="143" y="79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/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>
              <a:defPPr>
                <a:defRPr lang="en-US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endParaRPr lang="en-CA" dirty="0"/>
            </a:p>
          </p:txBody>
        </p:sp>
      </p:grpSp>
    </p:spTree>
    <p:extLst>
      <p:ext uri="{BB962C8B-B14F-4D97-AF65-F5344CB8AC3E}">
        <p14:creationId xmlns:p14="http://schemas.microsoft.com/office/powerpoint/2010/main" val="17222474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eps to assessing the sponsor and champions</a:t>
            </a:r>
            <a:endParaRPr lang="en-CA" dirty="0"/>
          </a:p>
        </p:txBody>
      </p:sp>
      <p:graphicFrame>
        <p:nvGraphicFramePr>
          <p:cNvPr id="3" name="Diagram 2" descr="Step 1: Identify the sponsor, the impacted groups and the champions. Step 2: Determine the position of the sponsor and champions relative to the change. Step 3: Assess the change management (CM) competentices of the sponsor and champions. Step 4: Analyze the results and create the sponsorship diagram." title="Steps to assessing the sponsor and champions diagram"/>
          <p:cNvGraphicFramePr/>
          <p:nvPr>
            <p:extLst>
              <p:ext uri="{D42A27DB-BD31-4B8C-83A1-F6EECF244321}">
                <p14:modId xmlns:p14="http://schemas.microsoft.com/office/powerpoint/2010/main" val="392132443"/>
              </p:ext>
            </p:extLst>
          </p:nvPr>
        </p:nvGraphicFramePr>
        <p:xfrm>
          <a:off x="614166" y="925150"/>
          <a:ext cx="10900938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8" name="Freeform 7" descr="AngleDoubleRight Icon"/>
          <p:cNvSpPr>
            <a:spLocks noEditPoints="1"/>
          </p:cNvSpPr>
          <p:nvPr/>
        </p:nvSpPr>
        <p:spPr bwMode="auto">
          <a:xfrm>
            <a:off x="3144688" y="1940618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6" name="Freeform 15" descr="AngleDoubleRight Icon"/>
          <p:cNvSpPr>
            <a:spLocks noEditPoints="1"/>
          </p:cNvSpPr>
          <p:nvPr/>
        </p:nvSpPr>
        <p:spPr bwMode="auto">
          <a:xfrm>
            <a:off x="5950287" y="1941835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3" name="Freeform 12" descr="AngleDoubleRight Icon"/>
          <p:cNvSpPr>
            <a:spLocks noEditPoints="1"/>
          </p:cNvSpPr>
          <p:nvPr/>
        </p:nvSpPr>
        <p:spPr bwMode="auto">
          <a:xfrm>
            <a:off x="8756254" y="1940616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24" name="Rectangle 23"/>
          <p:cNvSpPr/>
          <p:nvPr/>
        </p:nvSpPr>
        <p:spPr>
          <a:xfrm>
            <a:off x="3544584" y="5748726"/>
            <a:ext cx="60027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400" b="1" dirty="0" smtClean="0"/>
              <a:t>Let’s start with the sponsor!</a:t>
            </a:r>
            <a:endParaRPr lang="en-CA" sz="2400" dirty="0"/>
          </a:p>
        </p:txBody>
      </p:sp>
      <p:sp>
        <p:nvSpPr>
          <p:cNvPr id="23" name="Freeform 22" descr="green arrow pointing to the right." title="Green arrow"/>
          <p:cNvSpPr>
            <a:spLocks/>
          </p:cNvSpPr>
          <p:nvPr/>
        </p:nvSpPr>
        <p:spPr bwMode="auto">
          <a:xfrm rot="14507603">
            <a:off x="10172171" y="5034087"/>
            <a:ext cx="1198983" cy="1890940"/>
          </a:xfrm>
          <a:custGeom>
            <a:avLst/>
            <a:gdLst>
              <a:gd name="T0" fmla="*/ 492 w 600"/>
              <a:gd name="T1" fmla="*/ 0 h 1115"/>
              <a:gd name="T2" fmla="*/ 489 w 600"/>
              <a:gd name="T3" fmla="*/ 169 h 1115"/>
              <a:gd name="T4" fmla="*/ 452 w 600"/>
              <a:gd name="T5" fmla="*/ 254 h 1115"/>
              <a:gd name="T6" fmla="*/ 446 w 600"/>
              <a:gd name="T7" fmla="*/ 265 h 1115"/>
              <a:gd name="T8" fmla="*/ 143 w 600"/>
              <a:gd name="T9" fmla="*/ 930 h 1115"/>
              <a:gd name="T10" fmla="*/ 210 w 600"/>
              <a:gd name="T11" fmla="*/ 874 h 1115"/>
              <a:gd name="T12" fmla="*/ 364 w 600"/>
              <a:gd name="T13" fmla="*/ 769 h 1115"/>
              <a:gd name="T14" fmla="*/ 390 w 600"/>
              <a:gd name="T15" fmla="*/ 807 h 1115"/>
              <a:gd name="T16" fmla="*/ 387 w 600"/>
              <a:gd name="T17" fmla="*/ 813 h 1115"/>
              <a:gd name="T18" fmla="*/ 256 w 600"/>
              <a:gd name="T19" fmla="*/ 915 h 1115"/>
              <a:gd name="T20" fmla="*/ 259 w 600"/>
              <a:gd name="T21" fmla="*/ 924 h 1115"/>
              <a:gd name="T22" fmla="*/ 247 w 600"/>
              <a:gd name="T23" fmla="*/ 941 h 1115"/>
              <a:gd name="T24" fmla="*/ 207 w 600"/>
              <a:gd name="T25" fmla="*/ 979 h 1115"/>
              <a:gd name="T26" fmla="*/ 58 w 600"/>
              <a:gd name="T27" fmla="*/ 1108 h 1115"/>
              <a:gd name="T28" fmla="*/ 0 w 600"/>
              <a:gd name="T29" fmla="*/ 1081 h 1115"/>
              <a:gd name="T30" fmla="*/ 41 w 600"/>
              <a:gd name="T31" fmla="*/ 1038 h 1115"/>
              <a:gd name="T32" fmla="*/ 23 w 600"/>
              <a:gd name="T33" fmla="*/ 927 h 1115"/>
              <a:gd name="T34" fmla="*/ 35 w 600"/>
              <a:gd name="T35" fmla="*/ 909 h 1115"/>
              <a:gd name="T36" fmla="*/ 26 w 600"/>
              <a:gd name="T37" fmla="*/ 667 h 1115"/>
              <a:gd name="T38" fmla="*/ 90 w 600"/>
              <a:gd name="T39" fmla="*/ 909 h 1115"/>
              <a:gd name="T40" fmla="*/ 145 w 600"/>
              <a:gd name="T41" fmla="*/ 799 h 1115"/>
              <a:gd name="T42" fmla="*/ 169 w 600"/>
              <a:gd name="T43" fmla="*/ 772 h 1115"/>
              <a:gd name="T44" fmla="*/ 180 w 600"/>
              <a:gd name="T45" fmla="*/ 737 h 1115"/>
              <a:gd name="T46" fmla="*/ 204 w 600"/>
              <a:gd name="T47" fmla="*/ 702 h 1115"/>
              <a:gd name="T48" fmla="*/ 210 w 600"/>
              <a:gd name="T49" fmla="*/ 670 h 1115"/>
              <a:gd name="T50" fmla="*/ 224 w 600"/>
              <a:gd name="T51" fmla="*/ 665 h 1115"/>
              <a:gd name="T52" fmla="*/ 215 w 600"/>
              <a:gd name="T53" fmla="*/ 665 h 1115"/>
              <a:gd name="T54" fmla="*/ 230 w 600"/>
              <a:gd name="T55" fmla="*/ 647 h 1115"/>
              <a:gd name="T56" fmla="*/ 230 w 600"/>
              <a:gd name="T57" fmla="*/ 627 h 1115"/>
              <a:gd name="T58" fmla="*/ 239 w 600"/>
              <a:gd name="T59" fmla="*/ 627 h 1115"/>
              <a:gd name="T60" fmla="*/ 236 w 600"/>
              <a:gd name="T61" fmla="*/ 615 h 1115"/>
              <a:gd name="T62" fmla="*/ 239 w 600"/>
              <a:gd name="T63" fmla="*/ 621 h 1115"/>
              <a:gd name="T64" fmla="*/ 242 w 600"/>
              <a:gd name="T65" fmla="*/ 597 h 1115"/>
              <a:gd name="T66" fmla="*/ 259 w 600"/>
              <a:gd name="T67" fmla="*/ 577 h 1115"/>
              <a:gd name="T68" fmla="*/ 262 w 600"/>
              <a:gd name="T69" fmla="*/ 554 h 1115"/>
              <a:gd name="T70" fmla="*/ 277 w 600"/>
              <a:gd name="T71" fmla="*/ 536 h 1115"/>
              <a:gd name="T72" fmla="*/ 282 w 600"/>
              <a:gd name="T73" fmla="*/ 525 h 1115"/>
              <a:gd name="T74" fmla="*/ 303 w 600"/>
              <a:gd name="T75" fmla="*/ 472 h 1115"/>
              <a:gd name="T76" fmla="*/ 320 w 600"/>
              <a:gd name="T77" fmla="*/ 449 h 1115"/>
              <a:gd name="T78" fmla="*/ 352 w 600"/>
              <a:gd name="T79" fmla="*/ 350 h 1115"/>
              <a:gd name="T80" fmla="*/ 370 w 600"/>
              <a:gd name="T81" fmla="*/ 332 h 1115"/>
              <a:gd name="T82" fmla="*/ 385 w 600"/>
              <a:gd name="T83" fmla="*/ 283 h 1115"/>
              <a:gd name="T84" fmla="*/ 472 w 600"/>
              <a:gd name="T85" fmla="*/ 67 h 1115"/>
              <a:gd name="T86" fmla="*/ 492 w 600"/>
              <a:gd name="T87" fmla="*/ 0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0" h="1115">
                <a:moveTo>
                  <a:pt x="492" y="0"/>
                </a:moveTo>
                <a:cubicBezTo>
                  <a:pt x="600" y="3"/>
                  <a:pt x="508" y="123"/>
                  <a:pt x="489" y="169"/>
                </a:cubicBezTo>
                <a:cubicBezTo>
                  <a:pt x="478" y="199"/>
                  <a:pt x="468" y="228"/>
                  <a:pt x="452" y="254"/>
                </a:cubicBezTo>
                <a:cubicBezTo>
                  <a:pt x="451" y="255"/>
                  <a:pt x="446" y="264"/>
                  <a:pt x="446" y="265"/>
                </a:cubicBezTo>
                <a:cubicBezTo>
                  <a:pt x="360" y="478"/>
                  <a:pt x="239" y="724"/>
                  <a:pt x="143" y="930"/>
                </a:cubicBezTo>
                <a:cubicBezTo>
                  <a:pt x="171" y="911"/>
                  <a:pt x="177" y="886"/>
                  <a:pt x="210" y="874"/>
                </a:cubicBezTo>
                <a:cubicBezTo>
                  <a:pt x="251" y="829"/>
                  <a:pt x="291" y="783"/>
                  <a:pt x="364" y="769"/>
                </a:cubicBezTo>
                <a:cubicBezTo>
                  <a:pt x="376" y="779"/>
                  <a:pt x="394" y="782"/>
                  <a:pt x="390" y="807"/>
                </a:cubicBezTo>
                <a:cubicBezTo>
                  <a:pt x="388" y="808"/>
                  <a:pt x="388" y="811"/>
                  <a:pt x="387" y="813"/>
                </a:cubicBezTo>
                <a:cubicBezTo>
                  <a:pt x="335" y="837"/>
                  <a:pt x="285" y="878"/>
                  <a:pt x="256" y="915"/>
                </a:cubicBezTo>
                <a:cubicBezTo>
                  <a:pt x="250" y="914"/>
                  <a:pt x="257" y="924"/>
                  <a:pt x="259" y="924"/>
                </a:cubicBezTo>
                <a:cubicBezTo>
                  <a:pt x="258" y="931"/>
                  <a:pt x="241" y="937"/>
                  <a:pt x="247" y="941"/>
                </a:cubicBezTo>
                <a:cubicBezTo>
                  <a:pt x="238" y="947"/>
                  <a:pt x="207" y="949"/>
                  <a:pt x="207" y="979"/>
                </a:cubicBezTo>
                <a:cubicBezTo>
                  <a:pt x="162" y="991"/>
                  <a:pt x="106" y="1089"/>
                  <a:pt x="58" y="1108"/>
                </a:cubicBezTo>
                <a:cubicBezTo>
                  <a:pt x="39" y="1115"/>
                  <a:pt x="5" y="1104"/>
                  <a:pt x="0" y="1081"/>
                </a:cubicBezTo>
                <a:cubicBezTo>
                  <a:pt x="3" y="1070"/>
                  <a:pt x="43" y="1048"/>
                  <a:pt x="41" y="1038"/>
                </a:cubicBezTo>
                <a:cubicBezTo>
                  <a:pt x="32" y="1008"/>
                  <a:pt x="42" y="944"/>
                  <a:pt x="23" y="927"/>
                </a:cubicBezTo>
                <a:cubicBezTo>
                  <a:pt x="25" y="919"/>
                  <a:pt x="31" y="916"/>
                  <a:pt x="35" y="909"/>
                </a:cubicBezTo>
                <a:cubicBezTo>
                  <a:pt x="34" y="840"/>
                  <a:pt x="38" y="733"/>
                  <a:pt x="26" y="667"/>
                </a:cubicBezTo>
                <a:cubicBezTo>
                  <a:pt x="139" y="635"/>
                  <a:pt x="82" y="842"/>
                  <a:pt x="90" y="909"/>
                </a:cubicBezTo>
                <a:cubicBezTo>
                  <a:pt x="114" y="885"/>
                  <a:pt x="134" y="835"/>
                  <a:pt x="145" y="799"/>
                </a:cubicBezTo>
                <a:cubicBezTo>
                  <a:pt x="157" y="810"/>
                  <a:pt x="148" y="773"/>
                  <a:pt x="169" y="772"/>
                </a:cubicBezTo>
                <a:cubicBezTo>
                  <a:pt x="158" y="762"/>
                  <a:pt x="177" y="744"/>
                  <a:pt x="180" y="737"/>
                </a:cubicBezTo>
                <a:cubicBezTo>
                  <a:pt x="187" y="725"/>
                  <a:pt x="189" y="701"/>
                  <a:pt x="204" y="702"/>
                </a:cubicBezTo>
                <a:cubicBezTo>
                  <a:pt x="200" y="686"/>
                  <a:pt x="218" y="673"/>
                  <a:pt x="210" y="670"/>
                </a:cubicBezTo>
                <a:cubicBezTo>
                  <a:pt x="213" y="656"/>
                  <a:pt x="221" y="679"/>
                  <a:pt x="224" y="665"/>
                </a:cubicBezTo>
                <a:cubicBezTo>
                  <a:pt x="221" y="656"/>
                  <a:pt x="221" y="674"/>
                  <a:pt x="215" y="665"/>
                </a:cubicBezTo>
                <a:cubicBezTo>
                  <a:pt x="220" y="647"/>
                  <a:pt x="218" y="652"/>
                  <a:pt x="230" y="647"/>
                </a:cubicBezTo>
                <a:cubicBezTo>
                  <a:pt x="227" y="647"/>
                  <a:pt x="222" y="633"/>
                  <a:pt x="230" y="627"/>
                </a:cubicBezTo>
                <a:cubicBezTo>
                  <a:pt x="231" y="626"/>
                  <a:pt x="238" y="628"/>
                  <a:pt x="239" y="627"/>
                </a:cubicBezTo>
                <a:cubicBezTo>
                  <a:pt x="241" y="622"/>
                  <a:pt x="233" y="620"/>
                  <a:pt x="236" y="615"/>
                </a:cubicBezTo>
                <a:cubicBezTo>
                  <a:pt x="237" y="613"/>
                  <a:pt x="240" y="620"/>
                  <a:pt x="239" y="621"/>
                </a:cubicBezTo>
                <a:cubicBezTo>
                  <a:pt x="246" y="618"/>
                  <a:pt x="238" y="608"/>
                  <a:pt x="242" y="597"/>
                </a:cubicBezTo>
                <a:cubicBezTo>
                  <a:pt x="244" y="591"/>
                  <a:pt x="254" y="586"/>
                  <a:pt x="259" y="577"/>
                </a:cubicBezTo>
                <a:cubicBezTo>
                  <a:pt x="262" y="571"/>
                  <a:pt x="260" y="559"/>
                  <a:pt x="262" y="554"/>
                </a:cubicBezTo>
                <a:cubicBezTo>
                  <a:pt x="266" y="543"/>
                  <a:pt x="277" y="538"/>
                  <a:pt x="277" y="536"/>
                </a:cubicBezTo>
                <a:cubicBezTo>
                  <a:pt x="277" y="534"/>
                  <a:pt x="271" y="521"/>
                  <a:pt x="282" y="525"/>
                </a:cubicBezTo>
                <a:cubicBezTo>
                  <a:pt x="282" y="508"/>
                  <a:pt x="306" y="493"/>
                  <a:pt x="303" y="472"/>
                </a:cubicBezTo>
                <a:cubicBezTo>
                  <a:pt x="306" y="462"/>
                  <a:pt x="314" y="456"/>
                  <a:pt x="320" y="449"/>
                </a:cubicBezTo>
                <a:cubicBezTo>
                  <a:pt x="332" y="418"/>
                  <a:pt x="335" y="385"/>
                  <a:pt x="352" y="350"/>
                </a:cubicBezTo>
                <a:cubicBezTo>
                  <a:pt x="350" y="354"/>
                  <a:pt x="368" y="337"/>
                  <a:pt x="370" y="332"/>
                </a:cubicBezTo>
                <a:cubicBezTo>
                  <a:pt x="377" y="318"/>
                  <a:pt x="378" y="298"/>
                  <a:pt x="385" y="283"/>
                </a:cubicBezTo>
                <a:cubicBezTo>
                  <a:pt x="414" y="212"/>
                  <a:pt x="449" y="139"/>
                  <a:pt x="472" y="67"/>
                </a:cubicBezTo>
                <a:cubicBezTo>
                  <a:pt x="479" y="46"/>
                  <a:pt x="488" y="24"/>
                  <a:pt x="492" y="0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604041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Identify… </a:t>
            </a:r>
            <a:r>
              <a:rPr lang="en-US" dirty="0" smtClean="0"/>
              <a:t>the sponsor</a:t>
            </a:r>
            <a:endParaRPr lang="en-CA" dirty="0"/>
          </a:p>
        </p:txBody>
      </p:sp>
      <p:sp>
        <p:nvSpPr>
          <p:cNvPr id="18" name="Freeform 17" descr="AngleDoubleRight Icon"/>
          <p:cNvSpPr>
            <a:spLocks noEditPoints="1"/>
          </p:cNvSpPr>
          <p:nvPr/>
        </p:nvSpPr>
        <p:spPr bwMode="auto">
          <a:xfrm>
            <a:off x="613486" y="1553610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graphicFrame>
        <p:nvGraphicFramePr>
          <p:cNvPr id="22" name="Table 21" title="Green squar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30072031"/>
              </p:ext>
            </p:extLst>
          </p:nvPr>
        </p:nvGraphicFramePr>
        <p:xfrm>
          <a:off x="1260839" y="1529811"/>
          <a:ext cx="4414685" cy="1369235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14685"/>
              </a:tblGrid>
              <a:tr h="1369235">
                <a:tc>
                  <a:txBody>
                    <a:bodyPr/>
                    <a:lstStyle/>
                    <a:p>
                      <a:pPr marL="0" indent="0">
                        <a:buFont typeface="Wingdings" panose="05000000000000000000" pitchFamily="2" charset="2"/>
                        <a:buNone/>
                        <a:defRPr/>
                      </a:pPr>
                      <a:r>
                        <a:rPr lang="en-US" dirty="0" smtClean="0"/>
                        <a:t>Open the </a:t>
                      </a:r>
                      <a:r>
                        <a:rPr lang="en-US" b="1" dirty="0" smtClean="0"/>
                        <a:t>Sponsorship assessment tool</a:t>
                      </a:r>
                      <a:r>
                        <a:rPr lang="en-US" b="0" dirty="0" smtClean="0"/>
                        <a:t>:</a:t>
                      </a:r>
                      <a:r>
                        <a:rPr lang="en-US" b="1" dirty="0" smtClean="0"/>
                        <a:t> </a:t>
                      </a:r>
                    </a:p>
                    <a:p>
                      <a:pPr marL="342900" lvl="0" indent="-342900">
                        <a:buFont typeface="+mj-lt"/>
                        <a:buAutoNum type="arabicPeriod"/>
                        <a:defRPr/>
                      </a:pPr>
                      <a:r>
                        <a:rPr lang="en-US" dirty="0" smtClean="0"/>
                        <a:t>On the “</a:t>
                      </a:r>
                      <a:r>
                        <a:rPr lang="en-US" b="1" dirty="0" smtClean="0"/>
                        <a:t>Assess</a:t>
                      </a:r>
                      <a:r>
                        <a:rPr lang="en-US" b="1" baseline="0" dirty="0" smtClean="0"/>
                        <a:t> the sponsor</a:t>
                      </a:r>
                      <a:r>
                        <a:rPr lang="en-US" baseline="0" dirty="0" smtClean="0"/>
                        <a:t>”</a:t>
                      </a:r>
                      <a:r>
                        <a:rPr lang="en-US" dirty="0" smtClean="0"/>
                        <a:t> tab, input the name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of the </a:t>
                      </a:r>
                      <a:r>
                        <a:rPr lang="en-US" b="0" dirty="0" smtClean="0"/>
                        <a:t>sponsor </a:t>
                      </a:r>
                      <a:r>
                        <a:rPr lang="en-US" dirty="0" smtClean="0"/>
                        <a:t>in the appropriate cell.</a:t>
                      </a:r>
                      <a:endParaRPr lang="en-CA" dirty="0" smtClean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24" name="Freeform 23" descr="LightBulb Icon"/>
          <p:cNvSpPr>
            <a:spLocks noEditPoints="1"/>
          </p:cNvSpPr>
          <p:nvPr/>
        </p:nvSpPr>
        <p:spPr bwMode="auto">
          <a:xfrm rot="21258215">
            <a:off x="1245945" y="3127982"/>
            <a:ext cx="571500" cy="855341"/>
          </a:xfrm>
          <a:custGeom>
            <a:avLst/>
            <a:gdLst>
              <a:gd name="T0" fmla="*/ 377 w 448"/>
              <a:gd name="T1" fmla="*/ 53 h 671"/>
              <a:gd name="T2" fmla="*/ 224 w 448"/>
              <a:gd name="T3" fmla="*/ 0 h 671"/>
              <a:gd name="T4" fmla="*/ 71 w 448"/>
              <a:gd name="T5" fmla="*/ 53 h 671"/>
              <a:gd name="T6" fmla="*/ 0 w 448"/>
              <a:gd name="T7" fmla="*/ 196 h 671"/>
              <a:gd name="T8" fmla="*/ 78 w 448"/>
              <a:gd name="T9" fmla="*/ 351 h 671"/>
              <a:gd name="T10" fmla="*/ 119 w 448"/>
              <a:gd name="T11" fmla="*/ 440 h 671"/>
              <a:gd name="T12" fmla="*/ 109 w 448"/>
              <a:gd name="T13" fmla="*/ 503 h 671"/>
              <a:gd name="T14" fmla="*/ 118 w 448"/>
              <a:gd name="T15" fmla="*/ 567 h 671"/>
              <a:gd name="T16" fmla="*/ 126 w 448"/>
              <a:gd name="T17" fmla="*/ 618 h 671"/>
              <a:gd name="T18" fmla="*/ 186 w 448"/>
              <a:gd name="T19" fmla="*/ 660 h 671"/>
              <a:gd name="T20" fmla="*/ 262 w 448"/>
              <a:gd name="T21" fmla="*/ 660 h 671"/>
              <a:gd name="T22" fmla="*/ 322 w 448"/>
              <a:gd name="T23" fmla="*/ 618 h 671"/>
              <a:gd name="T24" fmla="*/ 330 w 448"/>
              <a:gd name="T25" fmla="*/ 567 h 671"/>
              <a:gd name="T26" fmla="*/ 339 w 448"/>
              <a:gd name="T27" fmla="*/ 503 h 671"/>
              <a:gd name="T28" fmla="*/ 329 w 448"/>
              <a:gd name="T29" fmla="*/ 440 h 671"/>
              <a:gd name="T30" fmla="*/ 370 w 448"/>
              <a:gd name="T31" fmla="*/ 351 h 671"/>
              <a:gd name="T32" fmla="*/ 448 w 448"/>
              <a:gd name="T33" fmla="*/ 196 h 671"/>
              <a:gd name="T34" fmla="*/ 362 w 448"/>
              <a:gd name="T35" fmla="*/ 274 h 671"/>
              <a:gd name="T36" fmla="*/ 336 w 448"/>
              <a:gd name="T37" fmla="*/ 303 h 671"/>
              <a:gd name="T38" fmla="*/ 174 w 448"/>
              <a:gd name="T39" fmla="*/ 433 h 671"/>
              <a:gd name="T40" fmla="*/ 99 w 448"/>
              <a:gd name="T41" fmla="*/ 289 h 671"/>
              <a:gd name="T42" fmla="*/ 56 w 448"/>
              <a:gd name="T43" fmla="*/ 196 h 671"/>
              <a:gd name="T44" fmla="*/ 111 w 448"/>
              <a:gd name="T45" fmla="*/ 93 h 671"/>
              <a:gd name="T46" fmla="*/ 224 w 448"/>
              <a:gd name="T47" fmla="*/ 56 h 671"/>
              <a:gd name="T48" fmla="*/ 338 w 448"/>
              <a:gd name="T49" fmla="*/ 93 h 671"/>
              <a:gd name="T50" fmla="*/ 392 w 448"/>
              <a:gd name="T51" fmla="*/ 196 h 671"/>
              <a:gd name="T52" fmla="*/ 306 w 448"/>
              <a:gd name="T53" fmla="*/ 156 h 671"/>
              <a:gd name="T54" fmla="*/ 224 w 448"/>
              <a:gd name="T55" fmla="*/ 126 h 671"/>
              <a:gd name="T56" fmla="*/ 210 w 448"/>
              <a:gd name="T57" fmla="*/ 139 h 671"/>
              <a:gd name="T58" fmla="*/ 224 w 448"/>
              <a:gd name="T59" fmla="*/ 154 h 671"/>
              <a:gd name="T60" fmla="*/ 294 w 448"/>
              <a:gd name="T61" fmla="*/ 196 h 671"/>
              <a:gd name="T62" fmla="*/ 308 w 448"/>
              <a:gd name="T63" fmla="*/ 210 h 671"/>
              <a:gd name="T64" fmla="*/ 322 w 448"/>
              <a:gd name="T65" fmla="*/ 196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48" h="671">
                <a:moveTo>
                  <a:pt x="429" y="115"/>
                </a:moveTo>
                <a:cubicBezTo>
                  <a:pt x="416" y="90"/>
                  <a:pt x="398" y="69"/>
                  <a:pt x="377" y="53"/>
                </a:cubicBezTo>
                <a:cubicBezTo>
                  <a:pt x="356" y="36"/>
                  <a:pt x="332" y="23"/>
                  <a:pt x="306" y="14"/>
                </a:cubicBezTo>
                <a:cubicBezTo>
                  <a:pt x="279" y="4"/>
                  <a:pt x="252" y="0"/>
                  <a:pt x="224" y="0"/>
                </a:cubicBezTo>
                <a:cubicBezTo>
                  <a:pt x="196" y="0"/>
                  <a:pt x="169" y="4"/>
                  <a:pt x="142" y="14"/>
                </a:cubicBezTo>
                <a:cubicBezTo>
                  <a:pt x="116" y="23"/>
                  <a:pt x="92" y="36"/>
                  <a:pt x="71" y="53"/>
                </a:cubicBezTo>
                <a:cubicBezTo>
                  <a:pt x="50" y="69"/>
                  <a:pt x="32" y="90"/>
                  <a:pt x="20" y="115"/>
                </a:cubicBezTo>
                <a:cubicBezTo>
                  <a:pt x="7" y="140"/>
                  <a:pt x="0" y="167"/>
                  <a:pt x="0" y="196"/>
                </a:cubicBezTo>
                <a:cubicBezTo>
                  <a:pt x="0" y="241"/>
                  <a:pt x="15" y="280"/>
                  <a:pt x="45" y="313"/>
                </a:cubicBezTo>
                <a:cubicBezTo>
                  <a:pt x="58" y="327"/>
                  <a:pt x="69" y="340"/>
                  <a:pt x="78" y="351"/>
                </a:cubicBezTo>
                <a:cubicBezTo>
                  <a:pt x="86" y="362"/>
                  <a:pt x="95" y="376"/>
                  <a:pt x="104" y="393"/>
                </a:cubicBezTo>
                <a:cubicBezTo>
                  <a:pt x="112" y="409"/>
                  <a:pt x="117" y="425"/>
                  <a:pt x="119" y="440"/>
                </a:cubicBezTo>
                <a:cubicBezTo>
                  <a:pt x="105" y="448"/>
                  <a:pt x="98" y="460"/>
                  <a:pt x="98" y="475"/>
                </a:cubicBezTo>
                <a:cubicBezTo>
                  <a:pt x="98" y="486"/>
                  <a:pt x="102" y="496"/>
                  <a:pt x="109" y="503"/>
                </a:cubicBezTo>
                <a:cubicBezTo>
                  <a:pt x="102" y="511"/>
                  <a:pt x="98" y="521"/>
                  <a:pt x="98" y="531"/>
                </a:cubicBezTo>
                <a:cubicBezTo>
                  <a:pt x="98" y="547"/>
                  <a:pt x="105" y="558"/>
                  <a:pt x="118" y="567"/>
                </a:cubicBezTo>
                <a:cubicBezTo>
                  <a:pt x="114" y="574"/>
                  <a:pt x="112" y="580"/>
                  <a:pt x="112" y="587"/>
                </a:cubicBezTo>
                <a:cubicBezTo>
                  <a:pt x="112" y="601"/>
                  <a:pt x="117" y="611"/>
                  <a:pt x="126" y="618"/>
                </a:cubicBezTo>
                <a:cubicBezTo>
                  <a:pt x="135" y="626"/>
                  <a:pt x="146" y="629"/>
                  <a:pt x="160" y="629"/>
                </a:cubicBezTo>
                <a:cubicBezTo>
                  <a:pt x="166" y="642"/>
                  <a:pt x="174" y="652"/>
                  <a:pt x="186" y="660"/>
                </a:cubicBezTo>
                <a:cubicBezTo>
                  <a:pt x="198" y="668"/>
                  <a:pt x="210" y="671"/>
                  <a:pt x="224" y="671"/>
                </a:cubicBezTo>
                <a:cubicBezTo>
                  <a:pt x="238" y="671"/>
                  <a:pt x="250" y="668"/>
                  <a:pt x="262" y="660"/>
                </a:cubicBezTo>
                <a:cubicBezTo>
                  <a:pt x="274" y="652"/>
                  <a:pt x="283" y="642"/>
                  <a:pt x="288" y="629"/>
                </a:cubicBezTo>
                <a:cubicBezTo>
                  <a:pt x="302" y="629"/>
                  <a:pt x="313" y="626"/>
                  <a:pt x="322" y="618"/>
                </a:cubicBezTo>
                <a:cubicBezTo>
                  <a:pt x="331" y="611"/>
                  <a:pt x="336" y="601"/>
                  <a:pt x="336" y="587"/>
                </a:cubicBezTo>
                <a:cubicBezTo>
                  <a:pt x="336" y="580"/>
                  <a:pt x="334" y="574"/>
                  <a:pt x="330" y="567"/>
                </a:cubicBezTo>
                <a:cubicBezTo>
                  <a:pt x="343" y="558"/>
                  <a:pt x="350" y="547"/>
                  <a:pt x="350" y="531"/>
                </a:cubicBezTo>
                <a:cubicBezTo>
                  <a:pt x="350" y="521"/>
                  <a:pt x="346" y="511"/>
                  <a:pt x="339" y="503"/>
                </a:cubicBezTo>
                <a:cubicBezTo>
                  <a:pt x="346" y="496"/>
                  <a:pt x="350" y="486"/>
                  <a:pt x="350" y="475"/>
                </a:cubicBezTo>
                <a:cubicBezTo>
                  <a:pt x="350" y="460"/>
                  <a:pt x="343" y="448"/>
                  <a:pt x="329" y="440"/>
                </a:cubicBezTo>
                <a:cubicBezTo>
                  <a:pt x="331" y="425"/>
                  <a:pt x="336" y="409"/>
                  <a:pt x="344" y="393"/>
                </a:cubicBezTo>
                <a:cubicBezTo>
                  <a:pt x="353" y="376"/>
                  <a:pt x="362" y="362"/>
                  <a:pt x="370" y="351"/>
                </a:cubicBezTo>
                <a:cubicBezTo>
                  <a:pt x="379" y="340"/>
                  <a:pt x="390" y="327"/>
                  <a:pt x="403" y="313"/>
                </a:cubicBezTo>
                <a:cubicBezTo>
                  <a:pt x="433" y="280"/>
                  <a:pt x="448" y="241"/>
                  <a:pt x="448" y="196"/>
                </a:cubicBezTo>
                <a:cubicBezTo>
                  <a:pt x="448" y="167"/>
                  <a:pt x="442" y="140"/>
                  <a:pt x="429" y="115"/>
                </a:cubicBezTo>
                <a:close/>
                <a:moveTo>
                  <a:pt x="362" y="274"/>
                </a:moveTo>
                <a:cubicBezTo>
                  <a:pt x="359" y="278"/>
                  <a:pt x="355" y="282"/>
                  <a:pt x="349" y="289"/>
                </a:cubicBezTo>
                <a:cubicBezTo>
                  <a:pt x="343" y="295"/>
                  <a:pt x="338" y="300"/>
                  <a:pt x="336" y="303"/>
                </a:cubicBezTo>
                <a:cubicBezTo>
                  <a:pt x="298" y="348"/>
                  <a:pt x="278" y="391"/>
                  <a:pt x="274" y="433"/>
                </a:cubicBezTo>
                <a:cubicBezTo>
                  <a:pt x="174" y="433"/>
                  <a:pt x="174" y="433"/>
                  <a:pt x="174" y="433"/>
                </a:cubicBezTo>
                <a:cubicBezTo>
                  <a:pt x="170" y="391"/>
                  <a:pt x="150" y="348"/>
                  <a:pt x="112" y="303"/>
                </a:cubicBezTo>
                <a:cubicBezTo>
                  <a:pt x="110" y="300"/>
                  <a:pt x="105" y="295"/>
                  <a:pt x="99" y="289"/>
                </a:cubicBezTo>
                <a:cubicBezTo>
                  <a:pt x="93" y="282"/>
                  <a:pt x="89" y="278"/>
                  <a:pt x="86" y="274"/>
                </a:cubicBezTo>
                <a:cubicBezTo>
                  <a:pt x="66" y="251"/>
                  <a:pt x="56" y="225"/>
                  <a:pt x="56" y="196"/>
                </a:cubicBezTo>
                <a:cubicBezTo>
                  <a:pt x="56" y="175"/>
                  <a:pt x="61" y="155"/>
                  <a:pt x="71" y="137"/>
                </a:cubicBezTo>
                <a:cubicBezTo>
                  <a:pt x="81" y="119"/>
                  <a:pt x="94" y="104"/>
                  <a:pt x="111" y="93"/>
                </a:cubicBezTo>
                <a:cubicBezTo>
                  <a:pt x="127" y="81"/>
                  <a:pt x="145" y="72"/>
                  <a:pt x="164" y="65"/>
                </a:cubicBezTo>
                <a:cubicBezTo>
                  <a:pt x="184" y="59"/>
                  <a:pt x="204" y="56"/>
                  <a:pt x="224" y="56"/>
                </a:cubicBezTo>
                <a:cubicBezTo>
                  <a:pt x="244" y="56"/>
                  <a:pt x="264" y="59"/>
                  <a:pt x="284" y="65"/>
                </a:cubicBezTo>
                <a:cubicBezTo>
                  <a:pt x="303" y="72"/>
                  <a:pt x="321" y="81"/>
                  <a:pt x="338" y="93"/>
                </a:cubicBezTo>
                <a:cubicBezTo>
                  <a:pt x="354" y="104"/>
                  <a:pt x="367" y="119"/>
                  <a:pt x="377" y="137"/>
                </a:cubicBezTo>
                <a:cubicBezTo>
                  <a:pt x="387" y="155"/>
                  <a:pt x="392" y="175"/>
                  <a:pt x="392" y="196"/>
                </a:cubicBezTo>
                <a:cubicBezTo>
                  <a:pt x="392" y="225"/>
                  <a:pt x="382" y="251"/>
                  <a:pt x="362" y="274"/>
                </a:cubicBezTo>
                <a:close/>
                <a:moveTo>
                  <a:pt x="306" y="156"/>
                </a:moveTo>
                <a:cubicBezTo>
                  <a:pt x="295" y="145"/>
                  <a:pt x="282" y="137"/>
                  <a:pt x="268" y="133"/>
                </a:cubicBezTo>
                <a:cubicBezTo>
                  <a:pt x="253" y="128"/>
                  <a:pt x="239" y="126"/>
                  <a:pt x="224" y="126"/>
                </a:cubicBezTo>
                <a:cubicBezTo>
                  <a:pt x="214" y="130"/>
                  <a:pt x="214" y="130"/>
                  <a:pt x="214" y="130"/>
                </a:cubicBezTo>
                <a:cubicBezTo>
                  <a:pt x="210" y="139"/>
                  <a:pt x="210" y="139"/>
                  <a:pt x="210" y="139"/>
                </a:cubicBezTo>
                <a:cubicBezTo>
                  <a:pt x="214" y="149"/>
                  <a:pt x="214" y="149"/>
                  <a:pt x="214" y="149"/>
                </a:cubicBezTo>
                <a:cubicBezTo>
                  <a:pt x="224" y="154"/>
                  <a:pt x="224" y="154"/>
                  <a:pt x="224" y="154"/>
                </a:cubicBezTo>
                <a:cubicBezTo>
                  <a:pt x="239" y="154"/>
                  <a:pt x="255" y="157"/>
                  <a:pt x="270" y="164"/>
                </a:cubicBezTo>
                <a:cubicBezTo>
                  <a:pt x="286" y="172"/>
                  <a:pt x="294" y="182"/>
                  <a:pt x="294" y="196"/>
                </a:cubicBezTo>
                <a:cubicBezTo>
                  <a:pt x="298" y="205"/>
                  <a:pt x="298" y="205"/>
                  <a:pt x="298" y="205"/>
                </a:cubicBezTo>
                <a:cubicBezTo>
                  <a:pt x="308" y="210"/>
                  <a:pt x="308" y="210"/>
                  <a:pt x="308" y="210"/>
                </a:cubicBezTo>
                <a:cubicBezTo>
                  <a:pt x="318" y="205"/>
                  <a:pt x="318" y="205"/>
                  <a:pt x="318" y="205"/>
                </a:cubicBezTo>
                <a:cubicBezTo>
                  <a:pt x="322" y="196"/>
                  <a:pt x="322" y="196"/>
                  <a:pt x="322" y="196"/>
                </a:cubicBezTo>
                <a:cubicBezTo>
                  <a:pt x="322" y="180"/>
                  <a:pt x="317" y="167"/>
                  <a:pt x="306" y="156"/>
                </a:cubicBez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20" name="Rectangle 19"/>
          <p:cNvSpPr/>
          <p:nvPr/>
        </p:nvSpPr>
        <p:spPr>
          <a:xfrm>
            <a:off x="1743191" y="3261506"/>
            <a:ext cx="344989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  <a:tabLst>
                <a:tab pos="457200" algn="l"/>
                <a:tab pos="589280" algn="l"/>
              </a:tabLst>
            </a:pP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ypically,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he sponsor is the highest level executive that has control over the resources for the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project. </a:t>
            </a:r>
            <a:endParaRPr lang="en-CA" sz="1400" i="1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474917" y="4202854"/>
            <a:ext cx="3986440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  <a:tabLst>
                <a:tab pos="457200" algn="l"/>
                <a:tab pos="589280" algn="l"/>
              </a:tabLst>
            </a:pP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sk yourself, is my sponsor at the right level? There may be additional challenges if they are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not; these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an be addressed 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in the </a:t>
            </a:r>
            <a:r>
              <a:rPr lang="en-CA" sz="1400" b="1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Sponsorship roadmap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during the Plan phase of the </a:t>
            </a:r>
            <a:r>
              <a:rPr lang="en-CA" sz="1400" b="1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  <a:hlinkClick r:id="rId3"/>
              </a:rPr>
              <a:t>WCM Playbook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.</a:t>
            </a:r>
            <a:endParaRPr lang="en-CA" sz="1400" i="1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sp>
        <p:nvSpPr>
          <p:cNvPr id="25" name="Freeform 24" descr="green arrow linking the text on the left to the image on the right" title="Green arrow"/>
          <p:cNvSpPr>
            <a:spLocks/>
          </p:cNvSpPr>
          <p:nvPr/>
        </p:nvSpPr>
        <p:spPr bwMode="auto">
          <a:xfrm rot="14261012">
            <a:off x="6265356" y="1744380"/>
            <a:ext cx="481610" cy="614221"/>
          </a:xfrm>
          <a:custGeom>
            <a:avLst/>
            <a:gdLst>
              <a:gd name="T0" fmla="*/ 492 w 600"/>
              <a:gd name="T1" fmla="*/ 0 h 1115"/>
              <a:gd name="T2" fmla="*/ 489 w 600"/>
              <a:gd name="T3" fmla="*/ 169 h 1115"/>
              <a:gd name="T4" fmla="*/ 452 w 600"/>
              <a:gd name="T5" fmla="*/ 254 h 1115"/>
              <a:gd name="T6" fmla="*/ 446 w 600"/>
              <a:gd name="T7" fmla="*/ 265 h 1115"/>
              <a:gd name="T8" fmla="*/ 143 w 600"/>
              <a:gd name="T9" fmla="*/ 930 h 1115"/>
              <a:gd name="T10" fmla="*/ 210 w 600"/>
              <a:gd name="T11" fmla="*/ 874 h 1115"/>
              <a:gd name="T12" fmla="*/ 364 w 600"/>
              <a:gd name="T13" fmla="*/ 769 h 1115"/>
              <a:gd name="T14" fmla="*/ 390 w 600"/>
              <a:gd name="T15" fmla="*/ 807 h 1115"/>
              <a:gd name="T16" fmla="*/ 387 w 600"/>
              <a:gd name="T17" fmla="*/ 813 h 1115"/>
              <a:gd name="T18" fmla="*/ 256 w 600"/>
              <a:gd name="T19" fmla="*/ 915 h 1115"/>
              <a:gd name="T20" fmla="*/ 259 w 600"/>
              <a:gd name="T21" fmla="*/ 924 h 1115"/>
              <a:gd name="T22" fmla="*/ 247 w 600"/>
              <a:gd name="T23" fmla="*/ 941 h 1115"/>
              <a:gd name="T24" fmla="*/ 207 w 600"/>
              <a:gd name="T25" fmla="*/ 979 h 1115"/>
              <a:gd name="T26" fmla="*/ 58 w 600"/>
              <a:gd name="T27" fmla="*/ 1108 h 1115"/>
              <a:gd name="T28" fmla="*/ 0 w 600"/>
              <a:gd name="T29" fmla="*/ 1081 h 1115"/>
              <a:gd name="T30" fmla="*/ 41 w 600"/>
              <a:gd name="T31" fmla="*/ 1038 h 1115"/>
              <a:gd name="T32" fmla="*/ 23 w 600"/>
              <a:gd name="T33" fmla="*/ 927 h 1115"/>
              <a:gd name="T34" fmla="*/ 35 w 600"/>
              <a:gd name="T35" fmla="*/ 909 h 1115"/>
              <a:gd name="T36" fmla="*/ 26 w 600"/>
              <a:gd name="T37" fmla="*/ 667 h 1115"/>
              <a:gd name="T38" fmla="*/ 90 w 600"/>
              <a:gd name="T39" fmla="*/ 909 h 1115"/>
              <a:gd name="T40" fmla="*/ 145 w 600"/>
              <a:gd name="T41" fmla="*/ 799 h 1115"/>
              <a:gd name="T42" fmla="*/ 169 w 600"/>
              <a:gd name="T43" fmla="*/ 772 h 1115"/>
              <a:gd name="T44" fmla="*/ 180 w 600"/>
              <a:gd name="T45" fmla="*/ 737 h 1115"/>
              <a:gd name="T46" fmla="*/ 204 w 600"/>
              <a:gd name="T47" fmla="*/ 702 h 1115"/>
              <a:gd name="T48" fmla="*/ 210 w 600"/>
              <a:gd name="T49" fmla="*/ 670 h 1115"/>
              <a:gd name="T50" fmla="*/ 224 w 600"/>
              <a:gd name="T51" fmla="*/ 665 h 1115"/>
              <a:gd name="T52" fmla="*/ 215 w 600"/>
              <a:gd name="T53" fmla="*/ 665 h 1115"/>
              <a:gd name="T54" fmla="*/ 230 w 600"/>
              <a:gd name="T55" fmla="*/ 647 h 1115"/>
              <a:gd name="T56" fmla="*/ 230 w 600"/>
              <a:gd name="T57" fmla="*/ 627 h 1115"/>
              <a:gd name="T58" fmla="*/ 239 w 600"/>
              <a:gd name="T59" fmla="*/ 627 h 1115"/>
              <a:gd name="T60" fmla="*/ 236 w 600"/>
              <a:gd name="T61" fmla="*/ 615 h 1115"/>
              <a:gd name="T62" fmla="*/ 239 w 600"/>
              <a:gd name="T63" fmla="*/ 621 h 1115"/>
              <a:gd name="T64" fmla="*/ 242 w 600"/>
              <a:gd name="T65" fmla="*/ 597 h 1115"/>
              <a:gd name="T66" fmla="*/ 259 w 600"/>
              <a:gd name="T67" fmla="*/ 577 h 1115"/>
              <a:gd name="T68" fmla="*/ 262 w 600"/>
              <a:gd name="T69" fmla="*/ 554 h 1115"/>
              <a:gd name="T70" fmla="*/ 277 w 600"/>
              <a:gd name="T71" fmla="*/ 536 h 1115"/>
              <a:gd name="T72" fmla="*/ 282 w 600"/>
              <a:gd name="T73" fmla="*/ 525 h 1115"/>
              <a:gd name="T74" fmla="*/ 303 w 600"/>
              <a:gd name="T75" fmla="*/ 472 h 1115"/>
              <a:gd name="T76" fmla="*/ 320 w 600"/>
              <a:gd name="T77" fmla="*/ 449 h 1115"/>
              <a:gd name="T78" fmla="*/ 352 w 600"/>
              <a:gd name="T79" fmla="*/ 350 h 1115"/>
              <a:gd name="T80" fmla="*/ 370 w 600"/>
              <a:gd name="T81" fmla="*/ 332 h 1115"/>
              <a:gd name="T82" fmla="*/ 385 w 600"/>
              <a:gd name="T83" fmla="*/ 283 h 1115"/>
              <a:gd name="T84" fmla="*/ 472 w 600"/>
              <a:gd name="T85" fmla="*/ 67 h 1115"/>
              <a:gd name="T86" fmla="*/ 492 w 600"/>
              <a:gd name="T87" fmla="*/ 0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0" h="1115">
                <a:moveTo>
                  <a:pt x="492" y="0"/>
                </a:moveTo>
                <a:cubicBezTo>
                  <a:pt x="600" y="3"/>
                  <a:pt x="508" y="123"/>
                  <a:pt x="489" y="169"/>
                </a:cubicBezTo>
                <a:cubicBezTo>
                  <a:pt x="478" y="199"/>
                  <a:pt x="468" y="228"/>
                  <a:pt x="452" y="254"/>
                </a:cubicBezTo>
                <a:cubicBezTo>
                  <a:pt x="451" y="255"/>
                  <a:pt x="446" y="264"/>
                  <a:pt x="446" y="265"/>
                </a:cubicBezTo>
                <a:cubicBezTo>
                  <a:pt x="360" y="478"/>
                  <a:pt x="239" y="724"/>
                  <a:pt x="143" y="930"/>
                </a:cubicBezTo>
                <a:cubicBezTo>
                  <a:pt x="171" y="911"/>
                  <a:pt x="177" y="886"/>
                  <a:pt x="210" y="874"/>
                </a:cubicBezTo>
                <a:cubicBezTo>
                  <a:pt x="251" y="829"/>
                  <a:pt x="291" y="783"/>
                  <a:pt x="364" y="769"/>
                </a:cubicBezTo>
                <a:cubicBezTo>
                  <a:pt x="376" y="779"/>
                  <a:pt x="394" y="782"/>
                  <a:pt x="390" y="807"/>
                </a:cubicBezTo>
                <a:cubicBezTo>
                  <a:pt x="388" y="808"/>
                  <a:pt x="388" y="811"/>
                  <a:pt x="387" y="813"/>
                </a:cubicBezTo>
                <a:cubicBezTo>
                  <a:pt x="335" y="837"/>
                  <a:pt x="285" y="878"/>
                  <a:pt x="256" y="915"/>
                </a:cubicBezTo>
                <a:cubicBezTo>
                  <a:pt x="250" y="914"/>
                  <a:pt x="257" y="924"/>
                  <a:pt x="259" y="924"/>
                </a:cubicBezTo>
                <a:cubicBezTo>
                  <a:pt x="258" y="931"/>
                  <a:pt x="241" y="937"/>
                  <a:pt x="247" y="941"/>
                </a:cubicBezTo>
                <a:cubicBezTo>
                  <a:pt x="238" y="947"/>
                  <a:pt x="207" y="949"/>
                  <a:pt x="207" y="979"/>
                </a:cubicBezTo>
                <a:cubicBezTo>
                  <a:pt x="162" y="991"/>
                  <a:pt x="106" y="1089"/>
                  <a:pt x="58" y="1108"/>
                </a:cubicBezTo>
                <a:cubicBezTo>
                  <a:pt x="39" y="1115"/>
                  <a:pt x="5" y="1104"/>
                  <a:pt x="0" y="1081"/>
                </a:cubicBezTo>
                <a:cubicBezTo>
                  <a:pt x="3" y="1070"/>
                  <a:pt x="43" y="1048"/>
                  <a:pt x="41" y="1038"/>
                </a:cubicBezTo>
                <a:cubicBezTo>
                  <a:pt x="32" y="1008"/>
                  <a:pt x="42" y="944"/>
                  <a:pt x="23" y="927"/>
                </a:cubicBezTo>
                <a:cubicBezTo>
                  <a:pt x="25" y="919"/>
                  <a:pt x="31" y="916"/>
                  <a:pt x="35" y="909"/>
                </a:cubicBezTo>
                <a:cubicBezTo>
                  <a:pt x="34" y="840"/>
                  <a:pt x="38" y="733"/>
                  <a:pt x="26" y="667"/>
                </a:cubicBezTo>
                <a:cubicBezTo>
                  <a:pt x="139" y="635"/>
                  <a:pt x="82" y="842"/>
                  <a:pt x="90" y="909"/>
                </a:cubicBezTo>
                <a:cubicBezTo>
                  <a:pt x="114" y="885"/>
                  <a:pt x="134" y="835"/>
                  <a:pt x="145" y="799"/>
                </a:cubicBezTo>
                <a:cubicBezTo>
                  <a:pt x="157" y="810"/>
                  <a:pt x="148" y="773"/>
                  <a:pt x="169" y="772"/>
                </a:cubicBezTo>
                <a:cubicBezTo>
                  <a:pt x="158" y="762"/>
                  <a:pt x="177" y="744"/>
                  <a:pt x="180" y="737"/>
                </a:cubicBezTo>
                <a:cubicBezTo>
                  <a:pt x="187" y="725"/>
                  <a:pt x="189" y="701"/>
                  <a:pt x="204" y="702"/>
                </a:cubicBezTo>
                <a:cubicBezTo>
                  <a:pt x="200" y="686"/>
                  <a:pt x="218" y="673"/>
                  <a:pt x="210" y="670"/>
                </a:cubicBezTo>
                <a:cubicBezTo>
                  <a:pt x="213" y="656"/>
                  <a:pt x="221" y="679"/>
                  <a:pt x="224" y="665"/>
                </a:cubicBezTo>
                <a:cubicBezTo>
                  <a:pt x="221" y="656"/>
                  <a:pt x="221" y="674"/>
                  <a:pt x="215" y="665"/>
                </a:cubicBezTo>
                <a:cubicBezTo>
                  <a:pt x="220" y="647"/>
                  <a:pt x="218" y="652"/>
                  <a:pt x="230" y="647"/>
                </a:cubicBezTo>
                <a:cubicBezTo>
                  <a:pt x="227" y="647"/>
                  <a:pt x="222" y="633"/>
                  <a:pt x="230" y="627"/>
                </a:cubicBezTo>
                <a:cubicBezTo>
                  <a:pt x="231" y="626"/>
                  <a:pt x="238" y="628"/>
                  <a:pt x="239" y="627"/>
                </a:cubicBezTo>
                <a:cubicBezTo>
                  <a:pt x="241" y="622"/>
                  <a:pt x="233" y="620"/>
                  <a:pt x="236" y="615"/>
                </a:cubicBezTo>
                <a:cubicBezTo>
                  <a:pt x="237" y="613"/>
                  <a:pt x="240" y="620"/>
                  <a:pt x="239" y="621"/>
                </a:cubicBezTo>
                <a:cubicBezTo>
                  <a:pt x="246" y="618"/>
                  <a:pt x="238" y="608"/>
                  <a:pt x="242" y="597"/>
                </a:cubicBezTo>
                <a:cubicBezTo>
                  <a:pt x="244" y="591"/>
                  <a:pt x="254" y="586"/>
                  <a:pt x="259" y="577"/>
                </a:cubicBezTo>
                <a:cubicBezTo>
                  <a:pt x="262" y="571"/>
                  <a:pt x="260" y="559"/>
                  <a:pt x="262" y="554"/>
                </a:cubicBezTo>
                <a:cubicBezTo>
                  <a:pt x="266" y="543"/>
                  <a:pt x="277" y="538"/>
                  <a:pt x="277" y="536"/>
                </a:cubicBezTo>
                <a:cubicBezTo>
                  <a:pt x="277" y="534"/>
                  <a:pt x="271" y="521"/>
                  <a:pt x="282" y="525"/>
                </a:cubicBezTo>
                <a:cubicBezTo>
                  <a:pt x="282" y="508"/>
                  <a:pt x="306" y="493"/>
                  <a:pt x="303" y="472"/>
                </a:cubicBezTo>
                <a:cubicBezTo>
                  <a:pt x="306" y="462"/>
                  <a:pt x="314" y="456"/>
                  <a:pt x="320" y="449"/>
                </a:cubicBezTo>
                <a:cubicBezTo>
                  <a:pt x="332" y="418"/>
                  <a:pt x="335" y="385"/>
                  <a:pt x="352" y="350"/>
                </a:cubicBezTo>
                <a:cubicBezTo>
                  <a:pt x="350" y="354"/>
                  <a:pt x="368" y="337"/>
                  <a:pt x="370" y="332"/>
                </a:cubicBezTo>
                <a:cubicBezTo>
                  <a:pt x="377" y="318"/>
                  <a:pt x="378" y="298"/>
                  <a:pt x="385" y="283"/>
                </a:cubicBezTo>
                <a:cubicBezTo>
                  <a:pt x="414" y="212"/>
                  <a:pt x="449" y="139"/>
                  <a:pt x="472" y="67"/>
                </a:cubicBezTo>
                <a:cubicBezTo>
                  <a:pt x="479" y="46"/>
                  <a:pt x="488" y="24"/>
                  <a:pt x="492" y="0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pic>
        <p:nvPicPr>
          <p:cNvPr id="3" name="Picture 2" descr="This is a screen capture of the document, it contains the title &quot;Sponsor assessment&quot; and &quot;Sponsor name: ... &quot;" title="Sponsor assessment image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390780" y="1606475"/>
            <a:ext cx="3397086" cy="894383"/>
          </a:xfrm>
          <a:prstGeom prst="rect">
            <a:avLst/>
          </a:prstGeom>
        </p:spPr>
      </p:pic>
      <p:sp>
        <p:nvSpPr>
          <p:cNvPr id="19" name="Freeform 18" descr="the black circle is over the &quot;Sponsor name: ...&quot; image to highlight its importance" title="Black circle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7295871" y="2032649"/>
            <a:ext cx="3748848" cy="448871"/>
          </a:xfrm>
          <a:custGeom>
            <a:avLst/>
            <a:gdLst>
              <a:gd name="T0" fmla="*/ 274 w 326"/>
              <a:gd name="T1" fmla="*/ 34 h 180"/>
              <a:gd name="T2" fmla="*/ 209 w 326"/>
              <a:gd name="T3" fmla="*/ 11 h 180"/>
              <a:gd name="T4" fmla="*/ 63 w 326"/>
              <a:gd name="T5" fmla="*/ 43 h 180"/>
              <a:gd name="T6" fmla="*/ 18 w 326"/>
              <a:gd name="T7" fmla="*/ 101 h 180"/>
              <a:gd name="T8" fmla="*/ 39 w 326"/>
              <a:gd name="T9" fmla="*/ 145 h 180"/>
              <a:gd name="T10" fmla="*/ 97 w 326"/>
              <a:gd name="T11" fmla="*/ 158 h 180"/>
              <a:gd name="T12" fmla="*/ 246 w 326"/>
              <a:gd name="T13" fmla="*/ 144 h 180"/>
              <a:gd name="T14" fmla="*/ 294 w 326"/>
              <a:gd name="T15" fmla="*/ 118 h 180"/>
              <a:gd name="T16" fmla="*/ 291 w 326"/>
              <a:gd name="T17" fmla="*/ 71 h 180"/>
              <a:gd name="T18" fmla="*/ 227 w 326"/>
              <a:gd name="T19" fmla="*/ 48 h 180"/>
              <a:gd name="T20" fmla="*/ 208 w 326"/>
              <a:gd name="T21" fmla="*/ 42 h 180"/>
              <a:gd name="T22" fmla="*/ 202 w 326"/>
              <a:gd name="T23" fmla="*/ 32 h 180"/>
              <a:gd name="T24" fmla="*/ 213 w 326"/>
              <a:gd name="T25" fmla="*/ 26 h 180"/>
              <a:gd name="T26" fmla="*/ 283 w 326"/>
              <a:gd name="T27" fmla="*/ 50 h 180"/>
              <a:gd name="T28" fmla="*/ 311 w 326"/>
              <a:gd name="T29" fmla="*/ 71 h 180"/>
              <a:gd name="T30" fmla="*/ 317 w 326"/>
              <a:gd name="T31" fmla="*/ 115 h 180"/>
              <a:gd name="T32" fmla="*/ 276 w 326"/>
              <a:gd name="T33" fmla="*/ 152 h 180"/>
              <a:gd name="T34" fmla="*/ 194 w 326"/>
              <a:gd name="T35" fmla="*/ 174 h 180"/>
              <a:gd name="T36" fmla="*/ 54 w 326"/>
              <a:gd name="T37" fmla="*/ 165 h 180"/>
              <a:gd name="T38" fmla="*/ 29 w 326"/>
              <a:gd name="T39" fmla="*/ 154 h 180"/>
              <a:gd name="T40" fmla="*/ 5 w 326"/>
              <a:gd name="T41" fmla="*/ 100 h 180"/>
              <a:gd name="T42" fmla="*/ 49 w 326"/>
              <a:gd name="T43" fmla="*/ 38 h 180"/>
              <a:gd name="T44" fmla="*/ 149 w 326"/>
              <a:gd name="T45" fmla="*/ 4 h 180"/>
              <a:gd name="T46" fmla="*/ 242 w 326"/>
              <a:gd name="T47" fmla="*/ 10 h 180"/>
              <a:gd name="T48" fmla="*/ 274 w 326"/>
              <a:gd name="T49" fmla="*/ 3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6" h="180">
                <a:moveTo>
                  <a:pt x="274" y="34"/>
                </a:moveTo>
                <a:cubicBezTo>
                  <a:pt x="256" y="14"/>
                  <a:pt x="232" y="12"/>
                  <a:pt x="209" y="11"/>
                </a:cubicBezTo>
                <a:cubicBezTo>
                  <a:pt x="158" y="8"/>
                  <a:pt x="108" y="15"/>
                  <a:pt x="63" y="43"/>
                </a:cubicBezTo>
                <a:cubicBezTo>
                  <a:pt x="41" y="57"/>
                  <a:pt x="24" y="75"/>
                  <a:pt x="18" y="101"/>
                </a:cubicBezTo>
                <a:cubicBezTo>
                  <a:pt x="13" y="121"/>
                  <a:pt x="19" y="138"/>
                  <a:pt x="39" y="145"/>
                </a:cubicBezTo>
                <a:cubicBezTo>
                  <a:pt x="57" y="151"/>
                  <a:pt x="77" y="155"/>
                  <a:pt x="97" y="158"/>
                </a:cubicBezTo>
                <a:cubicBezTo>
                  <a:pt x="147" y="164"/>
                  <a:pt x="197" y="160"/>
                  <a:pt x="246" y="144"/>
                </a:cubicBezTo>
                <a:cubicBezTo>
                  <a:pt x="263" y="138"/>
                  <a:pt x="280" y="131"/>
                  <a:pt x="294" y="118"/>
                </a:cubicBezTo>
                <a:cubicBezTo>
                  <a:pt x="314" y="101"/>
                  <a:pt x="313" y="86"/>
                  <a:pt x="291" y="71"/>
                </a:cubicBezTo>
                <a:cubicBezTo>
                  <a:pt x="272" y="58"/>
                  <a:pt x="249" y="53"/>
                  <a:pt x="227" y="48"/>
                </a:cubicBezTo>
                <a:cubicBezTo>
                  <a:pt x="220" y="46"/>
                  <a:pt x="214" y="44"/>
                  <a:pt x="208" y="42"/>
                </a:cubicBezTo>
                <a:cubicBezTo>
                  <a:pt x="203" y="41"/>
                  <a:pt x="200" y="37"/>
                  <a:pt x="202" y="32"/>
                </a:cubicBezTo>
                <a:cubicBezTo>
                  <a:pt x="203" y="27"/>
                  <a:pt x="207" y="24"/>
                  <a:pt x="213" y="26"/>
                </a:cubicBezTo>
                <a:cubicBezTo>
                  <a:pt x="236" y="34"/>
                  <a:pt x="260" y="41"/>
                  <a:pt x="283" y="50"/>
                </a:cubicBezTo>
                <a:cubicBezTo>
                  <a:pt x="293" y="55"/>
                  <a:pt x="303" y="63"/>
                  <a:pt x="311" y="71"/>
                </a:cubicBezTo>
                <a:cubicBezTo>
                  <a:pt x="324" y="84"/>
                  <a:pt x="326" y="99"/>
                  <a:pt x="317" y="115"/>
                </a:cubicBezTo>
                <a:cubicBezTo>
                  <a:pt x="308" y="132"/>
                  <a:pt x="293" y="143"/>
                  <a:pt x="276" y="152"/>
                </a:cubicBezTo>
                <a:cubicBezTo>
                  <a:pt x="251" y="165"/>
                  <a:pt x="223" y="171"/>
                  <a:pt x="194" y="174"/>
                </a:cubicBezTo>
                <a:cubicBezTo>
                  <a:pt x="147" y="180"/>
                  <a:pt x="100" y="176"/>
                  <a:pt x="54" y="165"/>
                </a:cubicBezTo>
                <a:cubicBezTo>
                  <a:pt x="45" y="162"/>
                  <a:pt x="37" y="159"/>
                  <a:pt x="29" y="154"/>
                </a:cubicBezTo>
                <a:cubicBezTo>
                  <a:pt x="8" y="143"/>
                  <a:pt x="0" y="122"/>
                  <a:pt x="5" y="100"/>
                </a:cubicBezTo>
                <a:cubicBezTo>
                  <a:pt x="11" y="73"/>
                  <a:pt x="27" y="53"/>
                  <a:pt x="49" y="38"/>
                </a:cubicBezTo>
                <a:cubicBezTo>
                  <a:pt x="79" y="18"/>
                  <a:pt x="113" y="8"/>
                  <a:pt x="149" y="4"/>
                </a:cubicBezTo>
                <a:cubicBezTo>
                  <a:pt x="180" y="0"/>
                  <a:pt x="212" y="2"/>
                  <a:pt x="242" y="10"/>
                </a:cubicBezTo>
                <a:cubicBezTo>
                  <a:pt x="260" y="15"/>
                  <a:pt x="269" y="22"/>
                  <a:pt x="274" y="34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3697382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508759" y="550861"/>
            <a:ext cx="11623333" cy="835027"/>
          </a:xfrm>
        </p:spPr>
        <p:txBody>
          <a:bodyPr>
            <a:normAutofit/>
          </a:bodyPr>
          <a:lstStyle/>
          <a:p>
            <a:r>
              <a:rPr lang="en-US" dirty="0" smtClean="0">
                <a:solidFill>
                  <a:schemeClr val="accent2"/>
                </a:solidFill>
              </a:rPr>
              <a:t>Determine the position of… </a:t>
            </a:r>
            <a:r>
              <a:rPr lang="en-US" dirty="0" smtClean="0"/>
              <a:t>the sponsor</a:t>
            </a:r>
            <a:endParaRPr lang="en-CA" dirty="0"/>
          </a:p>
        </p:txBody>
      </p:sp>
      <p:sp>
        <p:nvSpPr>
          <p:cNvPr id="16" name="Freeform 15" descr="AngleDoubleRight Icon"/>
          <p:cNvSpPr>
            <a:spLocks noEditPoints="1"/>
          </p:cNvSpPr>
          <p:nvPr/>
        </p:nvSpPr>
        <p:spPr bwMode="auto">
          <a:xfrm>
            <a:off x="613485" y="1553609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graphicFrame>
        <p:nvGraphicFramePr>
          <p:cNvPr id="17" name="Table 16" title="pale blue squar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1573122"/>
              </p:ext>
            </p:extLst>
          </p:nvPr>
        </p:nvGraphicFramePr>
        <p:xfrm>
          <a:off x="1260839" y="1529812"/>
          <a:ext cx="4414685" cy="10175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14685"/>
              </a:tblGrid>
              <a:tr h="101756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  <a:defRPr/>
                      </a:pPr>
                      <a:r>
                        <a:rPr lang="en-US" dirty="0" smtClean="0"/>
                        <a:t>On the “</a:t>
                      </a:r>
                      <a:r>
                        <a:rPr lang="en-US" b="1" dirty="0" smtClean="0"/>
                        <a:t>Assess</a:t>
                      </a:r>
                      <a:r>
                        <a:rPr lang="en-US" b="1" baseline="0" dirty="0" smtClean="0"/>
                        <a:t> the sponsor</a:t>
                      </a:r>
                      <a:r>
                        <a:rPr lang="en-US" baseline="0" dirty="0" smtClean="0"/>
                        <a:t>”</a:t>
                      </a:r>
                      <a:r>
                        <a:rPr lang="en-US" dirty="0" smtClean="0"/>
                        <a:t> tab, input the position</a:t>
                      </a:r>
                      <a:r>
                        <a:rPr lang="en-US" baseline="0" dirty="0" smtClean="0"/>
                        <a:t> </a:t>
                      </a:r>
                      <a:r>
                        <a:rPr lang="en-US" dirty="0" smtClean="0"/>
                        <a:t>of the </a:t>
                      </a:r>
                      <a:r>
                        <a:rPr lang="en-US" b="0" dirty="0" smtClean="0"/>
                        <a:t>sponsor</a:t>
                      </a:r>
                      <a:r>
                        <a:rPr lang="en-US" dirty="0" smtClean="0"/>
                        <a:t> in the appropriate cell.</a:t>
                      </a:r>
                      <a:endParaRPr lang="en-CA" dirty="0" smtClean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8" name="Table 17" title="White squar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4256902"/>
              </p:ext>
            </p:extLst>
          </p:nvPr>
        </p:nvGraphicFramePr>
        <p:xfrm>
          <a:off x="1260839" y="3121262"/>
          <a:ext cx="5069349" cy="2076811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69349"/>
              </a:tblGrid>
              <a:tr h="538029">
                <a:tc>
                  <a:txBody>
                    <a:bodyPr/>
                    <a:lstStyle/>
                    <a:p>
                      <a:pPr algn="l"/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In orde</a:t>
                      </a:r>
                      <a:r>
                        <a:rPr lang="en-US" b="1" baseline="0" dirty="0" smtClean="0">
                          <a:solidFill>
                            <a:schemeClr val="tx1"/>
                          </a:solidFill>
                        </a:rPr>
                        <a:t>r to do so, choose between the two following options</a:t>
                      </a:r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: </a:t>
                      </a:r>
                      <a:endParaRPr lang="en-CA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436731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CA" sz="1800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1" name="Oval 20">
            <a:extLst>
              <a:ext uri="{FF2B5EF4-FFF2-40B4-BE49-F238E27FC236}">
                <a16:creationId xmlns="" xmlns:a16="http://schemas.microsoft.com/office/drawing/2014/main" id="{18A60E22-0D53-403B-A33C-C0CB88E2C456}"/>
              </a:ext>
            </a:extLst>
          </p:cNvPr>
          <p:cNvSpPr/>
          <p:nvPr/>
        </p:nvSpPr>
        <p:spPr bwMode="auto">
          <a:xfrm>
            <a:off x="1473551" y="3918418"/>
            <a:ext cx="443642" cy="454025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</a:rPr>
              <a:t>A</a:t>
            </a:r>
          </a:p>
        </p:txBody>
      </p:sp>
      <p:sp>
        <p:nvSpPr>
          <p:cNvPr id="22" name="Oval 21">
            <a:extLst>
              <a:ext uri="{FF2B5EF4-FFF2-40B4-BE49-F238E27FC236}">
                <a16:creationId xmlns="" xmlns:a16="http://schemas.microsoft.com/office/drawing/2014/main" id="{4D6F4807-ABE0-476F-9938-8036BD5D14AC}"/>
              </a:ext>
            </a:extLst>
          </p:cNvPr>
          <p:cNvSpPr/>
          <p:nvPr/>
        </p:nvSpPr>
        <p:spPr bwMode="auto">
          <a:xfrm>
            <a:off x="1473551" y="4489196"/>
            <a:ext cx="443642" cy="454025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</a:rPr>
              <a:t>B</a:t>
            </a:r>
          </a:p>
        </p:txBody>
      </p:sp>
      <p:sp>
        <p:nvSpPr>
          <p:cNvPr id="20" name="Rectangle 19"/>
          <p:cNvSpPr/>
          <p:nvPr/>
        </p:nvSpPr>
        <p:spPr>
          <a:xfrm>
            <a:off x="1917193" y="3977053"/>
            <a:ext cx="4412995" cy="8925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defRPr/>
            </a:pPr>
            <a:r>
              <a:rPr lang="en-CA" sz="1600" dirty="0"/>
              <a:t>Openly </a:t>
            </a:r>
            <a:r>
              <a:rPr lang="en-CA" sz="1600" b="1" dirty="0"/>
              <a:t>supports </a:t>
            </a:r>
            <a:r>
              <a:rPr lang="en-CA" sz="1600" dirty="0"/>
              <a:t>the </a:t>
            </a:r>
            <a:r>
              <a:rPr lang="en-CA" sz="1600" dirty="0" smtClean="0"/>
              <a:t>change</a:t>
            </a:r>
          </a:p>
          <a:p>
            <a:pPr>
              <a:defRPr/>
            </a:pPr>
            <a:endParaRPr lang="en-US" sz="1200" dirty="0" smtClean="0"/>
          </a:p>
          <a:p>
            <a:pPr>
              <a:defRPr/>
            </a:pPr>
            <a:endParaRPr lang="en-US" sz="800" dirty="0" smtClean="0"/>
          </a:p>
          <a:p>
            <a:pPr>
              <a:defRPr/>
            </a:pPr>
            <a:r>
              <a:rPr lang="en-CA" sz="1600" dirty="0" smtClean="0"/>
              <a:t>Openly </a:t>
            </a:r>
            <a:r>
              <a:rPr lang="en-CA" sz="1600" b="1" dirty="0"/>
              <a:t>opposes </a:t>
            </a:r>
            <a:r>
              <a:rPr lang="en-CA" sz="1600" dirty="0"/>
              <a:t>the change or is </a:t>
            </a:r>
            <a:r>
              <a:rPr lang="en-CA" sz="1600" b="1" dirty="0" smtClean="0"/>
              <a:t>neutral</a:t>
            </a:r>
            <a:endParaRPr lang="en-CA" sz="1600" b="1" dirty="0"/>
          </a:p>
        </p:txBody>
      </p:sp>
      <p:sp>
        <p:nvSpPr>
          <p:cNvPr id="27" name="Freeform 26" descr="arrow linking the text on the left to the image on the right" title="arrow"/>
          <p:cNvSpPr>
            <a:spLocks/>
          </p:cNvSpPr>
          <p:nvPr/>
        </p:nvSpPr>
        <p:spPr bwMode="auto">
          <a:xfrm rot="14261012">
            <a:off x="5453699" y="1970408"/>
            <a:ext cx="481610" cy="614221"/>
          </a:xfrm>
          <a:custGeom>
            <a:avLst/>
            <a:gdLst>
              <a:gd name="T0" fmla="*/ 492 w 600"/>
              <a:gd name="T1" fmla="*/ 0 h 1115"/>
              <a:gd name="T2" fmla="*/ 489 w 600"/>
              <a:gd name="T3" fmla="*/ 169 h 1115"/>
              <a:gd name="T4" fmla="*/ 452 w 600"/>
              <a:gd name="T5" fmla="*/ 254 h 1115"/>
              <a:gd name="T6" fmla="*/ 446 w 600"/>
              <a:gd name="T7" fmla="*/ 265 h 1115"/>
              <a:gd name="T8" fmla="*/ 143 w 600"/>
              <a:gd name="T9" fmla="*/ 930 h 1115"/>
              <a:gd name="T10" fmla="*/ 210 w 600"/>
              <a:gd name="T11" fmla="*/ 874 h 1115"/>
              <a:gd name="T12" fmla="*/ 364 w 600"/>
              <a:gd name="T13" fmla="*/ 769 h 1115"/>
              <a:gd name="T14" fmla="*/ 390 w 600"/>
              <a:gd name="T15" fmla="*/ 807 h 1115"/>
              <a:gd name="T16" fmla="*/ 387 w 600"/>
              <a:gd name="T17" fmla="*/ 813 h 1115"/>
              <a:gd name="T18" fmla="*/ 256 w 600"/>
              <a:gd name="T19" fmla="*/ 915 h 1115"/>
              <a:gd name="T20" fmla="*/ 259 w 600"/>
              <a:gd name="T21" fmla="*/ 924 h 1115"/>
              <a:gd name="T22" fmla="*/ 247 w 600"/>
              <a:gd name="T23" fmla="*/ 941 h 1115"/>
              <a:gd name="T24" fmla="*/ 207 w 600"/>
              <a:gd name="T25" fmla="*/ 979 h 1115"/>
              <a:gd name="T26" fmla="*/ 58 w 600"/>
              <a:gd name="T27" fmla="*/ 1108 h 1115"/>
              <a:gd name="T28" fmla="*/ 0 w 600"/>
              <a:gd name="T29" fmla="*/ 1081 h 1115"/>
              <a:gd name="T30" fmla="*/ 41 w 600"/>
              <a:gd name="T31" fmla="*/ 1038 h 1115"/>
              <a:gd name="T32" fmla="*/ 23 w 600"/>
              <a:gd name="T33" fmla="*/ 927 h 1115"/>
              <a:gd name="T34" fmla="*/ 35 w 600"/>
              <a:gd name="T35" fmla="*/ 909 h 1115"/>
              <a:gd name="T36" fmla="*/ 26 w 600"/>
              <a:gd name="T37" fmla="*/ 667 h 1115"/>
              <a:gd name="T38" fmla="*/ 90 w 600"/>
              <a:gd name="T39" fmla="*/ 909 h 1115"/>
              <a:gd name="T40" fmla="*/ 145 w 600"/>
              <a:gd name="T41" fmla="*/ 799 h 1115"/>
              <a:gd name="T42" fmla="*/ 169 w 600"/>
              <a:gd name="T43" fmla="*/ 772 h 1115"/>
              <a:gd name="T44" fmla="*/ 180 w 600"/>
              <a:gd name="T45" fmla="*/ 737 h 1115"/>
              <a:gd name="T46" fmla="*/ 204 w 600"/>
              <a:gd name="T47" fmla="*/ 702 h 1115"/>
              <a:gd name="T48" fmla="*/ 210 w 600"/>
              <a:gd name="T49" fmla="*/ 670 h 1115"/>
              <a:gd name="T50" fmla="*/ 224 w 600"/>
              <a:gd name="T51" fmla="*/ 665 h 1115"/>
              <a:gd name="T52" fmla="*/ 215 w 600"/>
              <a:gd name="T53" fmla="*/ 665 h 1115"/>
              <a:gd name="T54" fmla="*/ 230 w 600"/>
              <a:gd name="T55" fmla="*/ 647 h 1115"/>
              <a:gd name="T56" fmla="*/ 230 w 600"/>
              <a:gd name="T57" fmla="*/ 627 h 1115"/>
              <a:gd name="T58" fmla="*/ 239 w 600"/>
              <a:gd name="T59" fmla="*/ 627 h 1115"/>
              <a:gd name="T60" fmla="*/ 236 w 600"/>
              <a:gd name="T61" fmla="*/ 615 h 1115"/>
              <a:gd name="T62" fmla="*/ 239 w 600"/>
              <a:gd name="T63" fmla="*/ 621 h 1115"/>
              <a:gd name="T64" fmla="*/ 242 w 600"/>
              <a:gd name="T65" fmla="*/ 597 h 1115"/>
              <a:gd name="T66" fmla="*/ 259 w 600"/>
              <a:gd name="T67" fmla="*/ 577 h 1115"/>
              <a:gd name="T68" fmla="*/ 262 w 600"/>
              <a:gd name="T69" fmla="*/ 554 h 1115"/>
              <a:gd name="T70" fmla="*/ 277 w 600"/>
              <a:gd name="T71" fmla="*/ 536 h 1115"/>
              <a:gd name="T72" fmla="*/ 282 w 600"/>
              <a:gd name="T73" fmla="*/ 525 h 1115"/>
              <a:gd name="T74" fmla="*/ 303 w 600"/>
              <a:gd name="T75" fmla="*/ 472 h 1115"/>
              <a:gd name="T76" fmla="*/ 320 w 600"/>
              <a:gd name="T77" fmla="*/ 449 h 1115"/>
              <a:gd name="T78" fmla="*/ 352 w 600"/>
              <a:gd name="T79" fmla="*/ 350 h 1115"/>
              <a:gd name="T80" fmla="*/ 370 w 600"/>
              <a:gd name="T81" fmla="*/ 332 h 1115"/>
              <a:gd name="T82" fmla="*/ 385 w 600"/>
              <a:gd name="T83" fmla="*/ 283 h 1115"/>
              <a:gd name="T84" fmla="*/ 472 w 600"/>
              <a:gd name="T85" fmla="*/ 67 h 1115"/>
              <a:gd name="T86" fmla="*/ 492 w 600"/>
              <a:gd name="T87" fmla="*/ 0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0" h="1115">
                <a:moveTo>
                  <a:pt x="492" y="0"/>
                </a:moveTo>
                <a:cubicBezTo>
                  <a:pt x="600" y="3"/>
                  <a:pt x="508" y="123"/>
                  <a:pt x="489" y="169"/>
                </a:cubicBezTo>
                <a:cubicBezTo>
                  <a:pt x="478" y="199"/>
                  <a:pt x="468" y="228"/>
                  <a:pt x="452" y="254"/>
                </a:cubicBezTo>
                <a:cubicBezTo>
                  <a:pt x="451" y="255"/>
                  <a:pt x="446" y="264"/>
                  <a:pt x="446" y="265"/>
                </a:cubicBezTo>
                <a:cubicBezTo>
                  <a:pt x="360" y="478"/>
                  <a:pt x="239" y="724"/>
                  <a:pt x="143" y="930"/>
                </a:cubicBezTo>
                <a:cubicBezTo>
                  <a:pt x="171" y="911"/>
                  <a:pt x="177" y="886"/>
                  <a:pt x="210" y="874"/>
                </a:cubicBezTo>
                <a:cubicBezTo>
                  <a:pt x="251" y="829"/>
                  <a:pt x="291" y="783"/>
                  <a:pt x="364" y="769"/>
                </a:cubicBezTo>
                <a:cubicBezTo>
                  <a:pt x="376" y="779"/>
                  <a:pt x="394" y="782"/>
                  <a:pt x="390" y="807"/>
                </a:cubicBezTo>
                <a:cubicBezTo>
                  <a:pt x="388" y="808"/>
                  <a:pt x="388" y="811"/>
                  <a:pt x="387" y="813"/>
                </a:cubicBezTo>
                <a:cubicBezTo>
                  <a:pt x="335" y="837"/>
                  <a:pt x="285" y="878"/>
                  <a:pt x="256" y="915"/>
                </a:cubicBezTo>
                <a:cubicBezTo>
                  <a:pt x="250" y="914"/>
                  <a:pt x="257" y="924"/>
                  <a:pt x="259" y="924"/>
                </a:cubicBezTo>
                <a:cubicBezTo>
                  <a:pt x="258" y="931"/>
                  <a:pt x="241" y="937"/>
                  <a:pt x="247" y="941"/>
                </a:cubicBezTo>
                <a:cubicBezTo>
                  <a:pt x="238" y="947"/>
                  <a:pt x="207" y="949"/>
                  <a:pt x="207" y="979"/>
                </a:cubicBezTo>
                <a:cubicBezTo>
                  <a:pt x="162" y="991"/>
                  <a:pt x="106" y="1089"/>
                  <a:pt x="58" y="1108"/>
                </a:cubicBezTo>
                <a:cubicBezTo>
                  <a:pt x="39" y="1115"/>
                  <a:pt x="5" y="1104"/>
                  <a:pt x="0" y="1081"/>
                </a:cubicBezTo>
                <a:cubicBezTo>
                  <a:pt x="3" y="1070"/>
                  <a:pt x="43" y="1048"/>
                  <a:pt x="41" y="1038"/>
                </a:cubicBezTo>
                <a:cubicBezTo>
                  <a:pt x="32" y="1008"/>
                  <a:pt x="42" y="944"/>
                  <a:pt x="23" y="927"/>
                </a:cubicBezTo>
                <a:cubicBezTo>
                  <a:pt x="25" y="919"/>
                  <a:pt x="31" y="916"/>
                  <a:pt x="35" y="909"/>
                </a:cubicBezTo>
                <a:cubicBezTo>
                  <a:pt x="34" y="840"/>
                  <a:pt x="38" y="733"/>
                  <a:pt x="26" y="667"/>
                </a:cubicBezTo>
                <a:cubicBezTo>
                  <a:pt x="139" y="635"/>
                  <a:pt x="82" y="842"/>
                  <a:pt x="90" y="909"/>
                </a:cubicBezTo>
                <a:cubicBezTo>
                  <a:pt x="114" y="885"/>
                  <a:pt x="134" y="835"/>
                  <a:pt x="145" y="799"/>
                </a:cubicBezTo>
                <a:cubicBezTo>
                  <a:pt x="157" y="810"/>
                  <a:pt x="148" y="773"/>
                  <a:pt x="169" y="772"/>
                </a:cubicBezTo>
                <a:cubicBezTo>
                  <a:pt x="158" y="762"/>
                  <a:pt x="177" y="744"/>
                  <a:pt x="180" y="737"/>
                </a:cubicBezTo>
                <a:cubicBezTo>
                  <a:pt x="187" y="725"/>
                  <a:pt x="189" y="701"/>
                  <a:pt x="204" y="702"/>
                </a:cubicBezTo>
                <a:cubicBezTo>
                  <a:pt x="200" y="686"/>
                  <a:pt x="218" y="673"/>
                  <a:pt x="210" y="670"/>
                </a:cubicBezTo>
                <a:cubicBezTo>
                  <a:pt x="213" y="656"/>
                  <a:pt x="221" y="679"/>
                  <a:pt x="224" y="665"/>
                </a:cubicBezTo>
                <a:cubicBezTo>
                  <a:pt x="221" y="656"/>
                  <a:pt x="221" y="674"/>
                  <a:pt x="215" y="665"/>
                </a:cubicBezTo>
                <a:cubicBezTo>
                  <a:pt x="220" y="647"/>
                  <a:pt x="218" y="652"/>
                  <a:pt x="230" y="647"/>
                </a:cubicBezTo>
                <a:cubicBezTo>
                  <a:pt x="227" y="647"/>
                  <a:pt x="222" y="633"/>
                  <a:pt x="230" y="627"/>
                </a:cubicBezTo>
                <a:cubicBezTo>
                  <a:pt x="231" y="626"/>
                  <a:pt x="238" y="628"/>
                  <a:pt x="239" y="627"/>
                </a:cubicBezTo>
                <a:cubicBezTo>
                  <a:pt x="241" y="622"/>
                  <a:pt x="233" y="620"/>
                  <a:pt x="236" y="615"/>
                </a:cubicBezTo>
                <a:cubicBezTo>
                  <a:pt x="237" y="613"/>
                  <a:pt x="240" y="620"/>
                  <a:pt x="239" y="621"/>
                </a:cubicBezTo>
                <a:cubicBezTo>
                  <a:pt x="246" y="618"/>
                  <a:pt x="238" y="608"/>
                  <a:pt x="242" y="597"/>
                </a:cubicBezTo>
                <a:cubicBezTo>
                  <a:pt x="244" y="591"/>
                  <a:pt x="254" y="586"/>
                  <a:pt x="259" y="577"/>
                </a:cubicBezTo>
                <a:cubicBezTo>
                  <a:pt x="262" y="571"/>
                  <a:pt x="260" y="559"/>
                  <a:pt x="262" y="554"/>
                </a:cubicBezTo>
                <a:cubicBezTo>
                  <a:pt x="266" y="543"/>
                  <a:pt x="277" y="538"/>
                  <a:pt x="277" y="536"/>
                </a:cubicBezTo>
                <a:cubicBezTo>
                  <a:pt x="277" y="534"/>
                  <a:pt x="271" y="521"/>
                  <a:pt x="282" y="525"/>
                </a:cubicBezTo>
                <a:cubicBezTo>
                  <a:pt x="282" y="508"/>
                  <a:pt x="306" y="493"/>
                  <a:pt x="303" y="472"/>
                </a:cubicBezTo>
                <a:cubicBezTo>
                  <a:pt x="306" y="462"/>
                  <a:pt x="314" y="456"/>
                  <a:pt x="320" y="449"/>
                </a:cubicBezTo>
                <a:cubicBezTo>
                  <a:pt x="332" y="418"/>
                  <a:pt x="335" y="385"/>
                  <a:pt x="352" y="350"/>
                </a:cubicBezTo>
                <a:cubicBezTo>
                  <a:pt x="350" y="354"/>
                  <a:pt x="368" y="337"/>
                  <a:pt x="370" y="332"/>
                </a:cubicBezTo>
                <a:cubicBezTo>
                  <a:pt x="377" y="318"/>
                  <a:pt x="378" y="298"/>
                  <a:pt x="385" y="283"/>
                </a:cubicBezTo>
                <a:cubicBezTo>
                  <a:pt x="414" y="212"/>
                  <a:pt x="449" y="139"/>
                  <a:pt x="472" y="67"/>
                </a:cubicBezTo>
                <a:cubicBezTo>
                  <a:pt x="479" y="46"/>
                  <a:pt x="488" y="24"/>
                  <a:pt x="492" y="0"/>
                </a:cubicBezTo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pic>
        <p:nvPicPr>
          <p:cNvPr id="3" name="Picture 2" descr="image of the sponsor position " title="assess the sponsor document screen capture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11931" y="1532193"/>
            <a:ext cx="5722110" cy="904874"/>
          </a:xfrm>
          <a:prstGeom prst="rect">
            <a:avLst/>
          </a:prstGeom>
        </p:spPr>
      </p:pic>
      <p:sp>
        <p:nvSpPr>
          <p:cNvPr id="24" name="Freeform 23" descr="the black circle highlights the sponsor position part of the image underneath." title="black circle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10230835" y="2006119"/>
            <a:ext cx="1802969" cy="569213"/>
          </a:xfrm>
          <a:custGeom>
            <a:avLst/>
            <a:gdLst>
              <a:gd name="T0" fmla="*/ 274 w 326"/>
              <a:gd name="T1" fmla="*/ 34 h 180"/>
              <a:gd name="T2" fmla="*/ 209 w 326"/>
              <a:gd name="T3" fmla="*/ 11 h 180"/>
              <a:gd name="T4" fmla="*/ 63 w 326"/>
              <a:gd name="T5" fmla="*/ 43 h 180"/>
              <a:gd name="T6" fmla="*/ 18 w 326"/>
              <a:gd name="T7" fmla="*/ 101 h 180"/>
              <a:gd name="T8" fmla="*/ 39 w 326"/>
              <a:gd name="T9" fmla="*/ 145 h 180"/>
              <a:gd name="T10" fmla="*/ 97 w 326"/>
              <a:gd name="T11" fmla="*/ 158 h 180"/>
              <a:gd name="T12" fmla="*/ 246 w 326"/>
              <a:gd name="T13" fmla="*/ 144 h 180"/>
              <a:gd name="T14" fmla="*/ 294 w 326"/>
              <a:gd name="T15" fmla="*/ 118 h 180"/>
              <a:gd name="T16" fmla="*/ 291 w 326"/>
              <a:gd name="T17" fmla="*/ 71 h 180"/>
              <a:gd name="T18" fmla="*/ 227 w 326"/>
              <a:gd name="T19" fmla="*/ 48 h 180"/>
              <a:gd name="T20" fmla="*/ 208 w 326"/>
              <a:gd name="T21" fmla="*/ 42 h 180"/>
              <a:gd name="T22" fmla="*/ 202 w 326"/>
              <a:gd name="T23" fmla="*/ 32 h 180"/>
              <a:gd name="T24" fmla="*/ 213 w 326"/>
              <a:gd name="T25" fmla="*/ 26 h 180"/>
              <a:gd name="T26" fmla="*/ 283 w 326"/>
              <a:gd name="T27" fmla="*/ 50 h 180"/>
              <a:gd name="T28" fmla="*/ 311 w 326"/>
              <a:gd name="T29" fmla="*/ 71 h 180"/>
              <a:gd name="T30" fmla="*/ 317 w 326"/>
              <a:gd name="T31" fmla="*/ 115 h 180"/>
              <a:gd name="T32" fmla="*/ 276 w 326"/>
              <a:gd name="T33" fmla="*/ 152 h 180"/>
              <a:gd name="T34" fmla="*/ 194 w 326"/>
              <a:gd name="T35" fmla="*/ 174 h 180"/>
              <a:gd name="T36" fmla="*/ 54 w 326"/>
              <a:gd name="T37" fmla="*/ 165 h 180"/>
              <a:gd name="T38" fmla="*/ 29 w 326"/>
              <a:gd name="T39" fmla="*/ 154 h 180"/>
              <a:gd name="T40" fmla="*/ 5 w 326"/>
              <a:gd name="T41" fmla="*/ 100 h 180"/>
              <a:gd name="T42" fmla="*/ 49 w 326"/>
              <a:gd name="T43" fmla="*/ 38 h 180"/>
              <a:gd name="T44" fmla="*/ 149 w 326"/>
              <a:gd name="T45" fmla="*/ 4 h 180"/>
              <a:gd name="T46" fmla="*/ 242 w 326"/>
              <a:gd name="T47" fmla="*/ 10 h 180"/>
              <a:gd name="T48" fmla="*/ 274 w 326"/>
              <a:gd name="T49" fmla="*/ 3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6" h="180">
                <a:moveTo>
                  <a:pt x="274" y="34"/>
                </a:moveTo>
                <a:cubicBezTo>
                  <a:pt x="256" y="14"/>
                  <a:pt x="232" y="12"/>
                  <a:pt x="209" y="11"/>
                </a:cubicBezTo>
                <a:cubicBezTo>
                  <a:pt x="158" y="8"/>
                  <a:pt x="108" y="15"/>
                  <a:pt x="63" y="43"/>
                </a:cubicBezTo>
                <a:cubicBezTo>
                  <a:pt x="41" y="57"/>
                  <a:pt x="24" y="75"/>
                  <a:pt x="18" y="101"/>
                </a:cubicBezTo>
                <a:cubicBezTo>
                  <a:pt x="13" y="121"/>
                  <a:pt x="19" y="138"/>
                  <a:pt x="39" y="145"/>
                </a:cubicBezTo>
                <a:cubicBezTo>
                  <a:pt x="57" y="151"/>
                  <a:pt x="77" y="155"/>
                  <a:pt x="97" y="158"/>
                </a:cubicBezTo>
                <a:cubicBezTo>
                  <a:pt x="147" y="164"/>
                  <a:pt x="197" y="160"/>
                  <a:pt x="246" y="144"/>
                </a:cubicBezTo>
                <a:cubicBezTo>
                  <a:pt x="263" y="138"/>
                  <a:pt x="280" y="131"/>
                  <a:pt x="294" y="118"/>
                </a:cubicBezTo>
                <a:cubicBezTo>
                  <a:pt x="314" y="101"/>
                  <a:pt x="313" y="86"/>
                  <a:pt x="291" y="71"/>
                </a:cubicBezTo>
                <a:cubicBezTo>
                  <a:pt x="272" y="58"/>
                  <a:pt x="249" y="53"/>
                  <a:pt x="227" y="48"/>
                </a:cubicBezTo>
                <a:cubicBezTo>
                  <a:pt x="220" y="46"/>
                  <a:pt x="214" y="44"/>
                  <a:pt x="208" y="42"/>
                </a:cubicBezTo>
                <a:cubicBezTo>
                  <a:pt x="203" y="41"/>
                  <a:pt x="200" y="37"/>
                  <a:pt x="202" y="32"/>
                </a:cubicBezTo>
                <a:cubicBezTo>
                  <a:pt x="203" y="27"/>
                  <a:pt x="207" y="24"/>
                  <a:pt x="213" y="26"/>
                </a:cubicBezTo>
                <a:cubicBezTo>
                  <a:pt x="236" y="34"/>
                  <a:pt x="260" y="41"/>
                  <a:pt x="283" y="50"/>
                </a:cubicBezTo>
                <a:cubicBezTo>
                  <a:pt x="293" y="55"/>
                  <a:pt x="303" y="63"/>
                  <a:pt x="311" y="71"/>
                </a:cubicBezTo>
                <a:cubicBezTo>
                  <a:pt x="324" y="84"/>
                  <a:pt x="326" y="99"/>
                  <a:pt x="317" y="115"/>
                </a:cubicBezTo>
                <a:cubicBezTo>
                  <a:pt x="308" y="132"/>
                  <a:pt x="293" y="143"/>
                  <a:pt x="276" y="152"/>
                </a:cubicBezTo>
                <a:cubicBezTo>
                  <a:pt x="251" y="165"/>
                  <a:pt x="223" y="171"/>
                  <a:pt x="194" y="174"/>
                </a:cubicBezTo>
                <a:cubicBezTo>
                  <a:pt x="147" y="180"/>
                  <a:pt x="100" y="176"/>
                  <a:pt x="54" y="165"/>
                </a:cubicBezTo>
                <a:cubicBezTo>
                  <a:pt x="45" y="162"/>
                  <a:pt x="37" y="159"/>
                  <a:pt x="29" y="154"/>
                </a:cubicBezTo>
                <a:cubicBezTo>
                  <a:pt x="8" y="143"/>
                  <a:pt x="0" y="122"/>
                  <a:pt x="5" y="100"/>
                </a:cubicBezTo>
                <a:cubicBezTo>
                  <a:pt x="11" y="73"/>
                  <a:pt x="27" y="53"/>
                  <a:pt x="49" y="38"/>
                </a:cubicBezTo>
                <a:cubicBezTo>
                  <a:pt x="79" y="18"/>
                  <a:pt x="113" y="8"/>
                  <a:pt x="149" y="4"/>
                </a:cubicBezTo>
                <a:cubicBezTo>
                  <a:pt x="180" y="0"/>
                  <a:pt x="212" y="2"/>
                  <a:pt x="242" y="10"/>
                </a:cubicBezTo>
                <a:cubicBezTo>
                  <a:pt x="260" y="15"/>
                  <a:pt x="269" y="22"/>
                  <a:pt x="274" y="34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2293500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CA" dirty="0" smtClean="0">
                <a:solidFill>
                  <a:schemeClr val="accent3"/>
                </a:solidFill>
              </a:rPr>
              <a:t>Assess the CM competencies of… </a:t>
            </a:r>
            <a:r>
              <a:rPr lang="en-CA" dirty="0" smtClean="0"/>
              <a:t>the sponsor</a:t>
            </a:r>
            <a:endParaRPr lang="en-CA" dirty="0"/>
          </a:p>
        </p:txBody>
      </p:sp>
      <p:sp>
        <p:nvSpPr>
          <p:cNvPr id="43" name="Freeform 42" descr="AngleDoubleRight Icon"/>
          <p:cNvSpPr>
            <a:spLocks noEditPoints="1"/>
          </p:cNvSpPr>
          <p:nvPr/>
        </p:nvSpPr>
        <p:spPr bwMode="auto">
          <a:xfrm>
            <a:off x="613485" y="1553609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graphicFrame>
        <p:nvGraphicFramePr>
          <p:cNvPr id="47" name="Table 46" title="green squar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3769603"/>
              </p:ext>
            </p:extLst>
          </p:nvPr>
        </p:nvGraphicFramePr>
        <p:xfrm>
          <a:off x="1260839" y="1529814"/>
          <a:ext cx="4414685" cy="23846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14685"/>
              </a:tblGrid>
              <a:tr h="2384640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lang="en-US" dirty="0" smtClean="0"/>
                        <a:t>On the “</a:t>
                      </a:r>
                      <a:r>
                        <a:rPr lang="en-US" b="1" dirty="0" smtClean="0"/>
                        <a:t>Assess</a:t>
                      </a:r>
                      <a:r>
                        <a:rPr lang="en-US" b="1" baseline="0" dirty="0" smtClean="0"/>
                        <a:t> the sponsor</a:t>
                      </a:r>
                      <a:r>
                        <a:rPr lang="en-US" baseline="0" dirty="0" smtClean="0"/>
                        <a:t>”</a:t>
                      </a:r>
                      <a:r>
                        <a:rPr lang="en-US" dirty="0" smtClean="0"/>
                        <a:t> tab, fill out the 20 grey cells in column “O” by ranking each factor on a scale of 1 to 5 (1</a:t>
                      </a:r>
                      <a:r>
                        <a:rPr lang="en-US" baseline="0" dirty="0" smtClean="0"/>
                        <a:t> being the least and 5 being the most)</a:t>
                      </a:r>
                      <a:r>
                        <a:rPr lang="en-US" dirty="0" smtClean="0"/>
                        <a:t>.</a:t>
                      </a:r>
                    </a:p>
                    <a:p>
                      <a:pPr marL="342900" marR="0" lvl="0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AutoNum type="arabicPeriod" startAt="3"/>
                        <a:tabLst/>
                        <a:defRPr/>
                      </a:pPr>
                      <a:r>
                        <a:rPr lang="en-US" dirty="0" smtClean="0"/>
                        <a:t>This</a:t>
                      </a:r>
                      <a:r>
                        <a:rPr lang="en-US" baseline="0" dirty="0" smtClean="0"/>
                        <a:t> will generate:</a:t>
                      </a:r>
                    </a:p>
                    <a:p>
                      <a:pPr marL="800100" marR="0" lvl="1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b="1" baseline="0" dirty="0" smtClean="0"/>
                        <a:t>Assessment score</a:t>
                      </a:r>
                      <a:r>
                        <a:rPr lang="en-US" baseline="0" dirty="0" smtClean="0"/>
                        <a:t> </a:t>
                      </a:r>
                    </a:p>
                    <a:p>
                      <a:pPr marL="800100" marR="0" lvl="1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b="1" dirty="0" smtClean="0"/>
                        <a:t>C</a:t>
                      </a:r>
                      <a:r>
                        <a:rPr lang="en-US" b="1" baseline="0" dirty="0" smtClean="0"/>
                        <a:t>ompetency level</a:t>
                      </a:r>
                    </a:p>
                    <a:p>
                      <a:pPr marL="800100" marR="0" lvl="1" indent="-342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en-US" b="1" dirty="0" smtClean="0"/>
                        <a:t>Letter/number designation</a:t>
                      </a:r>
                      <a:endParaRPr lang="en-US" baseline="0" dirty="0" smtClean="0"/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0" name="Table 9" title="white box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7639319"/>
              </p:ext>
            </p:extLst>
          </p:nvPr>
        </p:nvGraphicFramePr>
        <p:xfrm>
          <a:off x="6445755" y="1553609"/>
          <a:ext cx="5069349" cy="225552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69349"/>
              </a:tblGrid>
              <a:tr h="538029">
                <a:tc>
                  <a:txBody>
                    <a:bodyPr/>
                    <a:lstStyle/>
                    <a:p>
                      <a:pPr algn="l"/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Competency level of the sponsor:</a:t>
                      </a:r>
                    </a:p>
                    <a:p>
                      <a:pPr algn="l"/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endParaRPr lang="en-CA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436731">
                <a:tc>
                  <a:txBody>
                    <a:bodyPr/>
                    <a:lstStyle/>
                    <a:p>
                      <a:pPr>
                        <a:defRPr/>
                      </a:pPr>
                      <a:r>
                        <a:rPr lang="en-US" sz="1800" b="1" dirty="0" smtClean="0"/>
                        <a:t>              </a:t>
                      </a:r>
                      <a:r>
                        <a:rPr lang="en-US" sz="1600" b="1" dirty="0" smtClean="0"/>
                        <a:t>High </a:t>
                      </a:r>
                      <a:r>
                        <a:rPr lang="en-US" sz="1600" b="0" dirty="0" smtClean="0"/>
                        <a:t>level</a:t>
                      </a:r>
                      <a:r>
                        <a:rPr lang="en-US" sz="1600" b="1" dirty="0" smtClean="0"/>
                        <a:t> </a:t>
                      </a:r>
                      <a:r>
                        <a:rPr lang="en-US" sz="1600" dirty="0" smtClean="0"/>
                        <a:t>of competency (score of 80-100)</a:t>
                      </a:r>
                    </a:p>
                    <a:p>
                      <a:pPr>
                        <a:defRPr/>
                      </a:pPr>
                      <a:endParaRPr lang="en-US" sz="1600" dirty="0" smtClean="0"/>
                    </a:p>
                    <a:p>
                      <a:pPr>
                        <a:defRPr/>
                      </a:pPr>
                      <a:r>
                        <a:rPr lang="en-US" sz="1600" b="1" dirty="0" smtClean="0"/>
                        <a:t>                Moderate </a:t>
                      </a:r>
                      <a:r>
                        <a:rPr lang="en-US" sz="1600" b="0" dirty="0" smtClean="0"/>
                        <a:t>level</a:t>
                      </a:r>
                      <a:r>
                        <a:rPr lang="en-US" sz="1600" b="1" dirty="0" smtClean="0"/>
                        <a:t> </a:t>
                      </a:r>
                      <a:r>
                        <a:rPr lang="en-US" sz="1600" dirty="0" smtClean="0"/>
                        <a:t>of competency (score of 70-79)</a:t>
                      </a:r>
                    </a:p>
                    <a:p>
                      <a:pPr>
                        <a:defRPr/>
                      </a:pPr>
                      <a:endParaRPr lang="en-US" sz="1600" dirty="0" smtClean="0"/>
                    </a:p>
                    <a:p>
                      <a:pPr>
                        <a:defRPr/>
                      </a:pPr>
                      <a:r>
                        <a:rPr lang="en-US" sz="1600" b="1" dirty="0" smtClean="0"/>
                        <a:t>                Low </a:t>
                      </a:r>
                      <a:r>
                        <a:rPr lang="en-US" sz="1600" b="0" dirty="0" smtClean="0"/>
                        <a:t>level</a:t>
                      </a:r>
                      <a:r>
                        <a:rPr lang="en-US" sz="1600" b="1" dirty="0" smtClean="0"/>
                        <a:t> </a:t>
                      </a:r>
                      <a:r>
                        <a:rPr lang="en-US" sz="1600" dirty="0" smtClean="0"/>
                        <a:t>of competency (score &lt; 70)</a:t>
                      </a:r>
                    </a:p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endParaRPr lang="en-CA" sz="1800" dirty="0" smtClean="0">
                        <a:solidFill>
                          <a:srgbClr val="FF0000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3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14" name="Oval 13">
            <a:extLst>
              <a:ext uri="{FF2B5EF4-FFF2-40B4-BE49-F238E27FC236}">
                <a16:creationId xmlns="" xmlns:a16="http://schemas.microsoft.com/office/drawing/2014/main" id="{18A60E22-0D53-403B-A33C-C0CB88E2C456}"/>
              </a:ext>
            </a:extLst>
          </p:cNvPr>
          <p:cNvSpPr/>
          <p:nvPr/>
        </p:nvSpPr>
        <p:spPr bwMode="auto">
          <a:xfrm>
            <a:off x="6616680" y="2159930"/>
            <a:ext cx="443642" cy="454025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>
                <a:solidFill>
                  <a:schemeClr val="tx1"/>
                </a:solidFill>
              </a:rPr>
              <a:t>1</a:t>
            </a:r>
          </a:p>
        </p:txBody>
      </p:sp>
      <p:sp>
        <p:nvSpPr>
          <p:cNvPr id="15" name="Oval 14">
            <a:extLst>
              <a:ext uri="{FF2B5EF4-FFF2-40B4-BE49-F238E27FC236}">
                <a16:creationId xmlns="" xmlns:a16="http://schemas.microsoft.com/office/drawing/2014/main" id="{18A60E22-0D53-403B-A33C-C0CB88E2C456}"/>
              </a:ext>
            </a:extLst>
          </p:cNvPr>
          <p:cNvSpPr/>
          <p:nvPr/>
        </p:nvSpPr>
        <p:spPr bwMode="auto">
          <a:xfrm>
            <a:off x="6616680" y="2681541"/>
            <a:ext cx="443642" cy="454025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 smtClean="0">
                <a:solidFill>
                  <a:schemeClr val="tx1"/>
                </a:solidFill>
              </a:rPr>
              <a:t>2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="" xmlns:a16="http://schemas.microsoft.com/office/drawing/2014/main" id="{18A60E22-0D53-403B-A33C-C0CB88E2C456}"/>
              </a:ext>
            </a:extLst>
          </p:cNvPr>
          <p:cNvSpPr/>
          <p:nvPr/>
        </p:nvSpPr>
        <p:spPr bwMode="auto">
          <a:xfrm>
            <a:off x="6616680" y="3195622"/>
            <a:ext cx="443642" cy="454025"/>
          </a:xfrm>
          <a:prstGeom prst="ellipse">
            <a:avLst/>
          </a:prstGeom>
          <a:noFill/>
          <a:ln w="38100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en-US" sz="2400" b="1" dirty="0" smtClean="0">
                <a:solidFill>
                  <a:schemeClr val="tx1"/>
                </a:solidFill>
              </a:rPr>
              <a:t>3</a:t>
            </a:r>
            <a:endParaRPr lang="en-US" sz="2400" b="1" dirty="0">
              <a:solidFill>
                <a:schemeClr val="tx1"/>
              </a:solidFill>
            </a:endParaRPr>
          </a:p>
        </p:txBody>
      </p:sp>
      <p:sp>
        <p:nvSpPr>
          <p:cNvPr id="7" name="Freeform 6" descr="LightBulb Icon"/>
          <p:cNvSpPr>
            <a:spLocks noEditPoints="1"/>
          </p:cNvSpPr>
          <p:nvPr/>
        </p:nvSpPr>
        <p:spPr bwMode="auto">
          <a:xfrm rot="21258215">
            <a:off x="6657718" y="4277362"/>
            <a:ext cx="571500" cy="855341"/>
          </a:xfrm>
          <a:custGeom>
            <a:avLst/>
            <a:gdLst>
              <a:gd name="T0" fmla="*/ 377 w 448"/>
              <a:gd name="T1" fmla="*/ 53 h 671"/>
              <a:gd name="T2" fmla="*/ 224 w 448"/>
              <a:gd name="T3" fmla="*/ 0 h 671"/>
              <a:gd name="T4" fmla="*/ 71 w 448"/>
              <a:gd name="T5" fmla="*/ 53 h 671"/>
              <a:gd name="T6" fmla="*/ 0 w 448"/>
              <a:gd name="T7" fmla="*/ 196 h 671"/>
              <a:gd name="T8" fmla="*/ 78 w 448"/>
              <a:gd name="T9" fmla="*/ 351 h 671"/>
              <a:gd name="T10" fmla="*/ 119 w 448"/>
              <a:gd name="T11" fmla="*/ 440 h 671"/>
              <a:gd name="T12" fmla="*/ 109 w 448"/>
              <a:gd name="T13" fmla="*/ 503 h 671"/>
              <a:gd name="T14" fmla="*/ 118 w 448"/>
              <a:gd name="T15" fmla="*/ 567 h 671"/>
              <a:gd name="T16" fmla="*/ 126 w 448"/>
              <a:gd name="T17" fmla="*/ 618 h 671"/>
              <a:gd name="T18" fmla="*/ 186 w 448"/>
              <a:gd name="T19" fmla="*/ 660 h 671"/>
              <a:gd name="T20" fmla="*/ 262 w 448"/>
              <a:gd name="T21" fmla="*/ 660 h 671"/>
              <a:gd name="T22" fmla="*/ 322 w 448"/>
              <a:gd name="T23" fmla="*/ 618 h 671"/>
              <a:gd name="T24" fmla="*/ 330 w 448"/>
              <a:gd name="T25" fmla="*/ 567 h 671"/>
              <a:gd name="T26" fmla="*/ 339 w 448"/>
              <a:gd name="T27" fmla="*/ 503 h 671"/>
              <a:gd name="T28" fmla="*/ 329 w 448"/>
              <a:gd name="T29" fmla="*/ 440 h 671"/>
              <a:gd name="T30" fmla="*/ 370 w 448"/>
              <a:gd name="T31" fmla="*/ 351 h 671"/>
              <a:gd name="T32" fmla="*/ 448 w 448"/>
              <a:gd name="T33" fmla="*/ 196 h 671"/>
              <a:gd name="T34" fmla="*/ 362 w 448"/>
              <a:gd name="T35" fmla="*/ 274 h 671"/>
              <a:gd name="T36" fmla="*/ 336 w 448"/>
              <a:gd name="T37" fmla="*/ 303 h 671"/>
              <a:gd name="T38" fmla="*/ 174 w 448"/>
              <a:gd name="T39" fmla="*/ 433 h 671"/>
              <a:gd name="T40" fmla="*/ 99 w 448"/>
              <a:gd name="T41" fmla="*/ 289 h 671"/>
              <a:gd name="T42" fmla="*/ 56 w 448"/>
              <a:gd name="T43" fmla="*/ 196 h 671"/>
              <a:gd name="T44" fmla="*/ 111 w 448"/>
              <a:gd name="T45" fmla="*/ 93 h 671"/>
              <a:gd name="T46" fmla="*/ 224 w 448"/>
              <a:gd name="T47" fmla="*/ 56 h 671"/>
              <a:gd name="T48" fmla="*/ 338 w 448"/>
              <a:gd name="T49" fmla="*/ 93 h 671"/>
              <a:gd name="T50" fmla="*/ 392 w 448"/>
              <a:gd name="T51" fmla="*/ 196 h 671"/>
              <a:gd name="T52" fmla="*/ 306 w 448"/>
              <a:gd name="T53" fmla="*/ 156 h 671"/>
              <a:gd name="T54" fmla="*/ 224 w 448"/>
              <a:gd name="T55" fmla="*/ 126 h 671"/>
              <a:gd name="T56" fmla="*/ 210 w 448"/>
              <a:gd name="T57" fmla="*/ 139 h 671"/>
              <a:gd name="T58" fmla="*/ 224 w 448"/>
              <a:gd name="T59" fmla="*/ 154 h 671"/>
              <a:gd name="T60" fmla="*/ 294 w 448"/>
              <a:gd name="T61" fmla="*/ 196 h 671"/>
              <a:gd name="T62" fmla="*/ 308 w 448"/>
              <a:gd name="T63" fmla="*/ 210 h 671"/>
              <a:gd name="T64" fmla="*/ 322 w 448"/>
              <a:gd name="T65" fmla="*/ 196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48" h="671">
                <a:moveTo>
                  <a:pt x="429" y="115"/>
                </a:moveTo>
                <a:cubicBezTo>
                  <a:pt x="416" y="90"/>
                  <a:pt x="398" y="69"/>
                  <a:pt x="377" y="53"/>
                </a:cubicBezTo>
                <a:cubicBezTo>
                  <a:pt x="356" y="36"/>
                  <a:pt x="332" y="23"/>
                  <a:pt x="306" y="14"/>
                </a:cubicBezTo>
                <a:cubicBezTo>
                  <a:pt x="279" y="4"/>
                  <a:pt x="252" y="0"/>
                  <a:pt x="224" y="0"/>
                </a:cubicBezTo>
                <a:cubicBezTo>
                  <a:pt x="196" y="0"/>
                  <a:pt x="169" y="4"/>
                  <a:pt x="142" y="14"/>
                </a:cubicBezTo>
                <a:cubicBezTo>
                  <a:pt x="116" y="23"/>
                  <a:pt x="92" y="36"/>
                  <a:pt x="71" y="53"/>
                </a:cubicBezTo>
                <a:cubicBezTo>
                  <a:pt x="50" y="69"/>
                  <a:pt x="32" y="90"/>
                  <a:pt x="20" y="115"/>
                </a:cubicBezTo>
                <a:cubicBezTo>
                  <a:pt x="7" y="140"/>
                  <a:pt x="0" y="167"/>
                  <a:pt x="0" y="196"/>
                </a:cubicBezTo>
                <a:cubicBezTo>
                  <a:pt x="0" y="241"/>
                  <a:pt x="15" y="280"/>
                  <a:pt x="45" y="313"/>
                </a:cubicBezTo>
                <a:cubicBezTo>
                  <a:pt x="58" y="327"/>
                  <a:pt x="69" y="340"/>
                  <a:pt x="78" y="351"/>
                </a:cubicBezTo>
                <a:cubicBezTo>
                  <a:pt x="86" y="362"/>
                  <a:pt x="95" y="376"/>
                  <a:pt x="104" y="393"/>
                </a:cubicBezTo>
                <a:cubicBezTo>
                  <a:pt x="112" y="409"/>
                  <a:pt x="117" y="425"/>
                  <a:pt x="119" y="440"/>
                </a:cubicBezTo>
                <a:cubicBezTo>
                  <a:pt x="105" y="448"/>
                  <a:pt x="98" y="460"/>
                  <a:pt x="98" y="475"/>
                </a:cubicBezTo>
                <a:cubicBezTo>
                  <a:pt x="98" y="486"/>
                  <a:pt x="102" y="496"/>
                  <a:pt x="109" y="503"/>
                </a:cubicBezTo>
                <a:cubicBezTo>
                  <a:pt x="102" y="511"/>
                  <a:pt x="98" y="521"/>
                  <a:pt x="98" y="531"/>
                </a:cubicBezTo>
                <a:cubicBezTo>
                  <a:pt x="98" y="547"/>
                  <a:pt x="105" y="558"/>
                  <a:pt x="118" y="567"/>
                </a:cubicBezTo>
                <a:cubicBezTo>
                  <a:pt x="114" y="574"/>
                  <a:pt x="112" y="580"/>
                  <a:pt x="112" y="587"/>
                </a:cubicBezTo>
                <a:cubicBezTo>
                  <a:pt x="112" y="601"/>
                  <a:pt x="117" y="611"/>
                  <a:pt x="126" y="618"/>
                </a:cubicBezTo>
                <a:cubicBezTo>
                  <a:pt x="135" y="626"/>
                  <a:pt x="146" y="629"/>
                  <a:pt x="160" y="629"/>
                </a:cubicBezTo>
                <a:cubicBezTo>
                  <a:pt x="166" y="642"/>
                  <a:pt x="174" y="652"/>
                  <a:pt x="186" y="660"/>
                </a:cubicBezTo>
                <a:cubicBezTo>
                  <a:pt x="198" y="668"/>
                  <a:pt x="210" y="671"/>
                  <a:pt x="224" y="671"/>
                </a:cubicBezTo>
                <a:cubicBezTo>
                  <a:pt x="238" y="671"/>
                  <a:pt x="250" y="668"/>
                  <a:pt x="262" y="660"/>
                </a:cubicBezTo>
                <a:cubicBezTo>
                  <a:pt x="274" y="652"/>
                  <a:pt x="283" y="642"/>
                  <a:pt x="288" y="629"/>
                </a:cubicBezTo>
                <a:cubicBezTo>
                  <a:pt x="302" y="629"/>
                  <a:pt x="313" y="626"/>
                  <a:pt x="322" y="618"/>
                </a:cubicBezTo>
                <a:cubicBezTo>
                  <a:pt x="331" y="611"/>
                  <a:pt x="336" y="601"/>
                  <a:pt x="336" y="587"/>
                </a:cubicBezTo>
                <a:cubicBezTo>
                  <a:pt x="336" y="580"/>
                  <a:pt x="334" y="574"/>
                  <a:pt x="330" y="567"/>
                </a:cubicBezTo>
                <a:cubicBezTo>
                  <a:pt x="343" y="558"/>
                  <a:pt x="350" y="547"/>
                  <a:pt x="350" y="531"/>
                </a:cubicBezTo>
                <a:cubicBezTo>
                  <a:pt x="350" y="521"/>
                  <a:pt x="346" y="511"/>
                  <a:pt x="339" y="503"/>
                </a:cubicBezTo>
                <a:cubicBezTo>
                  <a:pt x="346" y="496"/>
                  <a:pt x="350" y="486"/>
                  <a:pt x="350" y="475"/>
                </a:cubicBezTo>
                <a:cubicBezTo>
                  <a:pt x="350" y="460"/>
                  <a:pt x="343" y="448"/>
                  <a:pt x="329" y="440"/>
                </a:cubicBezTo>
                <a:cubicBezTo>
                  <a:pt x="331" y="425"/>
                  <a:pt x="336" y="409"/>
                  <a:pt x="344" y="393"/>
                </a:cubicBezTo>
                <a:cubicBezTo>
                  <a:pt x="353" y="376"/>
                  <a:pt x="362" y="362"/>
                  <a:pt x="370" y="351"/>
                </a:cubicBezTo>
                <a:cubicBezTo>
                  <a:pt x="379" y="340"/>
                  <a:pt x="390" y="327"/>
                  <a:pt x="403" y="313"/>
                </a:cubicBezTo>
                <a:cubicBezTo>
                  <a:pt x="433" y="280"/>
                  <a:pt x="448" y="241"/>
                  <a:pt x="448" y="196"/>
                </a:cubicBezTo>
                <a:cubicBezTo>
                  <a:pt x="448" y="167"/>
                  <a:pt x="442" y="140"/>
                  <a:pt x="429" y="115"/>
                </a:cubicBezTo>
                <a:close/>
                <a:moveTo>
                  <a:pt x="362" y="274"/>
                </a:moveTo>
                <a:cubicBezTo>
                  <a:pt x="359" y="278"/>
                  <a:pt x="355" y="282"/>
                  <a:pt x="349" y="289"/>
                </a:cubicBezTo>
                <a:cubicBezTo>
                  <a:pt x="343" y="295"/>
                  <a:pt x="338" y="300"/>
                  <a:pt x="336" y="303"/>
                </a:cubicBezTo>
                <a:cubicBezTo>
                  <a:pt x="298" y="348"/>
                  <a:pt x="278" y="391"/>
                  <a:pt x="274" y="433"/>
                </a:cubicBezTo>
                <a:cubicBezTo>
                  <a:pt x="174" y="433"/>
                  <a:pt x="174" y="433"/>
                  <a:pt x="174" y="433"/>
                </a:cubicBezTo>
                <a:cubicBezTo>
                  <a:pt x="170" y="391"/>
                  <a:pt x="150" y="348"/>
                  <a:pt x="112" y="303"/>
                </a:cubicBezTo>
                <a:cubicBezTo>
                  <a:pt x="110" y="300"/>
                  <a:pt x="105" y="295"/>
                  <a:pt x="99" y="289"/>
                </a:cubicBezTo>
                <a:cubicBezTo>
                  <a:pt x="93" y="282"/>
                  <a:pt x="89" y="278"/>
                  <a:pt x="86" y="274"/>
                </a:cubicBezTo>
                <a:cubicBezTo>
                  <a:pt x="66" y="251"/>
                  <a:pt x="56" y="225"/>
                  <a:pt x="56" y="196"/>
                </a:cubicBezTo>
                <a:cubicBezTo>
                  <a:pt x="56" y="175"/>
                  <a:pt x="61" y="155"/>
                  <a:pt x="71" y="137"/>
                </a:cubicBezTo>
                <a:cubicBezTo>
                  <a:pt x="81" y="119"/>
                  <a:pt x="94" y="104"/>
                  <a:pt x="111" y="93"/>
                </a:cubicBezTo>
                <a:cubicBezTo>
                  <a:pt x="127" y="81"/>
                  <a:pt x="145" y="72"/>
                  <a:pt x="164" y="65"/>
                </a:cubicBezTo>
                <a:cubicBezTo>
                  <a:pt x="184" y="59"/>
                  <a:pt x="204" y="56"/>
                  <a:pt x="224" y="56"/>
                </a:cubicBezTo>
                <a:cubicBezTo>
                  <a:pt x="244" y="56"/>
                  <a:pt x="264" y="59"/>
                  <a:pt x="284" y="65"/>
                </a:cubicBezTo>
                <a:cubicBezTo>
                  <a:pt x="303" y="72"/>
                  <a:pt x="321" y="81"/>
                  <a:pt x="338" y="93"/>
                </a:cubicBezTo>
                <a:cubicBezTo>
                  <a:pt x="354" y="104"/>
                  <a:pt x="367" y="119"/>
                  <a:pt x="377" y="137"/>
                </a:cubicBezTo>
                <a:cubicBezTo>
                  <a:pt x="387" y="155"/>
                  <a:pt x="392" y="175"/>
                  <a:pt x="392" y="196"/>
                </a:cubicBezTo>
                <a:cubicBezTo>
                  <a:pt x="392" y="225"/>
                  <a:pt x="382" y="251"/>
                  <a:pt x="362" y="274"/>
                </a:cubicBezTo>
                <a:close/>
                <a:moveTo>
                  <a:pt x="306" y="156"/>
                </a:moveTo>
                <a:cubicBezTo>
                  <a:pt x="295" y="145"/>
                  <a:pt x="282" y="137"/>
                  <a:pt x="268" y="133"/>
                </a:cubicBezTo>
                <a:cubicBezTo>
                  <a:pt x="253" y="128"/>
                  <a:pt x="239" y="126"/>
                  <a:pt x="224" y="126"/>
                </a:cubicBezTo>
                <a:cubicBezTo>
                  <a:pt x="214" y="130"/>
                  <a:pt x="214" y="130"/>
                  <a:pt x="214" y="130"/>
                </a:cubicBezTo>
                <a:cubicBezTo>
                  <a:pt x="210" y="139"/>
                  <a:pt x="210" y="139"/>
                  <a:pt x="210" y="139"/>
                </a:cubicBezTo>
                <a:cubicBezTo>
                  <a:pt x="214" y="149"/>
                  <a:pt x="214" y="149"/>
                  <a:pt x="214" y="149"/>
                </a:cubicBezTo>
                <a:cubicBezTo>
                  <a:pt x="224" y="154"/>
                  <a:pt x="224" y="154"/>
                  <a:pt x="224" y="154"/>
                </a:cubicBezTo>
                <a:cubicBezTo>
                  <a:pt x="239" y="154"/>
                  <a:pt x="255" y="157"/>
                  <a:pt x="270" y="164"/>
                </a:cubicBezTo>
                <a:cubicBezTo>
                  <a:pt x="286" y="172"/>
                  <a:pt x="294" y="182"/>
                  <a:pt x="294" y="196"/>
                </a:cubicBezTo>
                <a:cubicBezTo>
                  <a:pt x="298" y="205"/>
                  <a:pt x="298" y="205"/>
                  <a:pt x="298" y="205"/>
                </a:cubicBezTo>
                <a:cubicBezTo>
                  <a:pt x="308" y="210"/>
                  <a:pt x="308" y="210"/>
                  <a:pt x="308" y="210"/>
                </a:cubicBezTo>
                <a:cubicBezTo>
                  <a:pt x="318" y="205"/>
                  <a:pt x="318" y="205"/>
                  <a:pt x="318" y="205"/>
                </a:cubicBezTo>
                <a:cubicBezTo>
                  <a:pt x="322" y="196"/>
                  <a:pt x="322" y="196"/>
                  <a:pt x="322" y="196"/>
                </a:cubicBezTo>
                <a:cubicBezTo>
                  <a:pt x="322" y="180"/>
                  <a:pt x="317" y="167"/>
                  <a:pt x="306" y="156"/>
                </a:cubicBez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1" name="Rectangle 10"/>
          <p:cNvSpPr/>
          <p:nvPr/>
        </p:nvSpPr>
        <p:spPr>
          <a:xfrm>
            <a:off x="7164110" y="4313469"/>
            <a:ext cx="377009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  <a:tabLst>
                <a:tab pos="457200" algn="l"/>
                <a:tab pos="589280" algn="l"/>
              </a:tabLst>
            </a:pP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Complete this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assessment based on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the sponsor’s behavior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on the current project or on past projects.</a:t>
            </a:r>
          </a:p>
        </p:txBody>
      </p:sp>
      <p:sp>
        <p:nvSpPr>
          <p:cNvPr id="18" name="Rectangle 17"/>
          <p:cNvSpPr/>
          <p:nvPr/>
        </p:nvSpPr>
        <p:spPr>
          <a:xfrm>
            <a:off x="3544584" y="5748726"/>
            <a:ext cx="600277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400" b="1" dirty="0" smtClean="0"/>
              <a:t>Now let’s move on to the champions!</a:t>
            </a:r>
            <a:endParaRPr lang="en-CA" sz="2400" dirty="0"/>
          </a:p>
        </p:txBody>
      </p:sp>
      <p:sp>
        <p:nvSpPr>
          <p:cNvPr id="13" name="Freeform 12" descr="green arrow pointing to the right" title="green arrow"/>
          <p:cNvSpPr>
            <a:spLocks/>
          </p:cNvSpPr>
          <p:nvPr/>
        </p:nvSpPr>
        <p:spPr bwMode="auto">
          <a:xfrm rot="14507603">
            <a:off x="10172171" y="5034087"/>
            <a:ext cx="1198983" cy="1890940"/>
          </a:xfrm>
          <a:custGeom>
            <a:avLst/>
            <a:gdLst>
              <a:gd name="T0" fmla="*/ 492 w 600"/>
              <a:gd name="T1" fmla="*/ 0 h 1115"/>
              <a:gd name="T2" fmla="*/ 489 w 600"/>
              <a:gd name="T3" fmla="*/ 169 h 1115"/>
              <a:gd name="T4" fmla="*/ 452 w 600"/>
              <a:gd name="T5" fmla="*/ 254 h 1115"/>
              <a:gd name="T6" fmla="*/ 446 w 600"/>
              <a:gd name="T7" fmla="*/ 265 h 1115"/>
              <a:gd name="T8" fmla="*/ 143 w 600"/>
              <a:gd name="T9" fmla="*/ 930 h 1115"/>
              <a:gd name="T10" fmla="*/ 210 w 600"/>
              <a:gd name="T11" fmla="*/ 874 h 1115"/>
              <a:gd name="T12" fmla="*/ 364 w 600"/>
              <a:gd name="T13" fmla="*/ 769 h 1115"/>
              <a:gd name="T14" fmla="*/ 390 w 600"/>
              <a:gd name="T15" fmla="*/ 807 h 1115"/>
              <a:gd name="T16" fmla="*/ 387 w 600"/>
              <a:gd name="T17" fmla="*/ 813 h 1115"/>
              <a:gd name="T18" fmla="*/ 256 w 600"/>
              <a:gd name="T19" fmla="*/ 915 h 1115"/>
              <a:gd name="T20" fmla="*/ 259 w 600"/>
              <a:gd name="T21" fmla="*/ 924 h 1115"/>
              <a:gd name="T22" fmla="*/ 247 w 600"/>
              <a:gd name="T23" fmla="*/ 941 h 1115"/>
              <a:gd name="T24" fmla="*/ 207 w 600"/>
              <a:gd name="T25" fmla="*/ 979 h 1115"/>
              <a:gd name="T26" fmla="*/ 58 w 600"/>
              <a:gd name="T27" fmla="*/ 1108 h 1115"/>
              <a:gd name="T28" fmla="*/ 0 w 600"/>
              <a:gd name="T29" fmla="*/ 1081 h 1115"/>
              <a:gd name="T30" fmla="*/ 41 w 600"/>
              <a:gd name="T31" fmla="*/ 1038 h 1115"/>
              <a:gd name="T32" fmla="*/ 23 w 600"/>
              <a:gd name="T33" fmla="*/ 927 h 1115"/>
              <a:gd name="T34" fmla="*/ 35 w 600"/>
              <a:gd name="T35" fmla="*/ 909 h 1115"/>
              <a:gd name="T36" fmla="*/ 26 w 600"/>
              <a:gd name="T37" fmla="*/ 667 h 1115"/>
              <a:gd name="T38" fmla="*/ 90 w 600"/>
              <a:gd name="T39" fmla="*/ 909 h 1115"/>
              <a:gd name="T40" fmla="*/ 145 w 600"/>
              <a:gd name="T41" fmla="*/ 799 h 1115"/>
              <a:gd name="T42" fmla="*/ 169 w 600"/>
              <a:gd name="T43" fmla="*/ 772 h 1115"/>
              <a:gd name="T44" fmla="*/ 180 w 600"/>
              <a:gd name="T45" fmla="*/ 737 h 1115"/>
              <a:gd name="T46" fmla="*/ 204 w 600"/>
              <a:gd name="T47" fmla="*/ 702 h 1115"/>
              <a:gd name="T48" fmla="*/ 210 w 600"/>
              <a:gd name="T49" fmla="*/ 670 h 1115"/>
              <a:gd name="T50" fmla="*/ 224 w 600"/>
              <a:gd name="T51" fmla="*/ 665 h 1115"/>
              <a:gd name="T52" fmla="*/ 215 w 600"/>
              <a:gd name="T53" fmla="*/ 665 h 1115"/>
              <a:gd name="T54" fmla="*/ 230 w 600"/>
              <a:gd name="T55" fmla="*/ 647 h 1115"/>
              <a:gd name="T56" fmla="*/ 230 w 600"/>
              <a:gd name="T57" fmla="*/ 627 h 1115"/>
              <a:gd name="T58" fmla="*/ 239 w 600"/>
              <a:gd name="T59" fmla="*/ 627 h 1115"/>
              <a:gd name="T60" fmla="*/ 236 w 600"/>
              <a:gd name="T61" fmla="*/ 615 h 1115"/>
              <a:gd name="T62" fmla="*/ 239 w 600"/>
              <a:gd name="T63" fmla="*/ 621 h 1115"/>
              <a:gd name="T64" fmla="*/ 242 w 600"/>
              <a:gd name="T65" fmla="*/ 597 h 1115"/>
              <a:gd name="T66" fmla="*/ 259 w 600"/>
              <a:gd name="T67" fmla="*/ 577 h 1115"/>
              <a:gd name="T68" fmla="*/ 262 w 600"/>
              <a:gd name="T69" fmla="*/ 554 h 1115"/>
              <a:gd name="T70" fmla="*/ 277 w 600"/>
              <a:gd name="T71" fmla="*/ 536 h 1115"/>
              <a:gd name="T72" fmla="*/ 282 w 600"/>
              <a:gd name="T73" fmla="*/ 525 h 1115"/>
              <a:gd name="T74" fmla="*/ 303 w 600"/>
              <a:gd name="T75" fmla="*/ 472 h 1115"/>
              <a:gd name="T76" fmla="*/ 320 w 600"/>
              <a:gd name="T77" fmla="*/ 449 h 1115"/>
              <a:gd name="T78" fmla="*/ 352 w 600"/>
              <a:gd name="T79" fmla="*/ 350 h 1115"/>
              <a:gd name="T80" fmla="*/ 370 w 600"/>
              <a:gd name="T81" fmla="*/ 332 h 1115"/>
              <a:gd name="T82" fmla="*/ 385 w 600"/>
              <a:gd name="T83" fmla="*/ 283 h 1115"/>
              <a:gd name="T84" fmla="*/ 472 w 600"/>
              <a:gd name="T85" fmla="*/ 67 h 1115"/>
              <a:gd name="T86" fmla="*/ 492 w 600"/>
              <a:gd name="T87" fmla="*/ 0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0" h="1115">
                <a:moveTo>
                  <a:pt x="492" y="0"/>
                </a:moveTo>
                <a:cubicBezTo>
                  <a:pt x="600" y="3"/>
                  <a:pt x="508" y="123"/>
                  <a:pt x="489" y="169"/>
                </a:cubicBezTo>
                <a:cubicBezTo>
                  <a:pt x="478" y="199"/>
                  <a:pt x="468" y="228"/>
                  <a:pt x="452" y="254"/>
                </a:cubicBezTo>
                <a:cubicBezTo>
                  <a:pt x="451" y="255"/>
                  <a:pt x="446" y="264"/>
                  <a:pt x="446" y="265"/>
                </a:cubicBezTo>
                <a:cubicBezTo>
                  <a:pt x="360" y="478"/>
                  <a:pt x="239" y="724"/>
                  <a:pt x="143" y="930"/>
                </a:cubicBezTo>
                <a:cubicBezTo>
                  <a:pt x="171" y="911"/>
                  <a:pt x="177" y="886"/>
                  <a:pt x="210" y="874"/>
                </a:cubicBezTo>
                <a:cubicBezTo>
                  <a:pt x="251" y="829"/>
                  <a:pt x="291" y="783"/>
                  <a:pt x="364" y="769"/>
                </a:cubicBezTo>
                <a:cubicBezTo>
                  <a:pt x="376" y="779"/>
                  <a:pt x="394" y="782"/>
                  <a:pt x="390" y="807"/>
                </a:cubicBezTo>
                <a:cubicBezTo>
                  <a:pt x="388" y="808"/>
                  <a:pt x="388" y="811"/>
                  <a:pt x="387" y="813"/>
                </a:cubicBezTo>
                <a:cubicBezTo>
                  <a:pt x="335" y="837"/>
                  <a:pt x="285" y="878"/>
                  <a:pt x="256" y="915"/>
                </a:cubicBezTo>
                <a:cubicBezTo>
                  <a:pt x="250" y="914"/>
                  <a:pt x="257" y="924"/>
                  <a:pt x="259" y="924"/>
                </a:cubicBezTo>
                <a:cubicBezTo>
                  <a:pt x="258" y="931"/>
                  <a:pt x="241" y="937"/>
                  <a:pt x="247" y="941"/>
                </a:cubicBezTo>
                <a:cubicBezTo>
                  <a:pt x="238" y="947"/>
                  <a:pt x="207" y="949"/>
                  <a:pt x="207" y="979"/>
                </a:cubicBezTo>
                <a:cubicBezTo>
                  <a:pt x="162" y="991"/>
                  <a:pt x="106" y="1089"/>
                  <a:pt x="58" y="1108"/>
                </a:cubicBezTo>
                <a:cubicBezTo>
                  <a:pt x="39" y="1115"/>
                  <a:pt x="5" y="1104"/>
                  <a:pt x="0" y="1081"/>
                </a:cubicBezTo>
                <a:cubicBezTo>
                  <a:pt x="3" y="1070"/>
                  <a:pt x="43" y="1048"/>
                  <a:pt x="41" y="1038"/>
                </a:cubicBezTo>
                <a:cubicBezTo>
                  <a:pt x="32" y="1008"/>
                  <a:pt x="42" y="944"/>
                  <a:pt x="23" y="927"/>
                </a:cubicBezTo>
                <a:cubicBezTo>
                  <a:pt x="25" y="919"/>
                  <a:pt x="31" y="916"/>
                  <a:pt x="35" y="909"/>
                </a:cubicBezTo>
                <a:cubicBezTo>
                  <a:pt x="34" y="840"/>
                  <a:pt x="38" y="733"/>
                  <a:pt x="26" y="667"/>
                </a:cubicBezTo>
                <a:cubicBezTo>
                  <a:pt x="139" y="635"/>
                  <a:pt x="82" y="842"/>
                  <a:pt x="90" y="909"/>
                </a:cubicBezTo>
                <a:cubicBezTo>
                  <a:pt x="114" y="885"/>
                  <a:pt x="134" y="835"/>
                  <a:pt x="145" y="799"/>
                </a:cubicBezTo>
                <a:cubicBezTo>
                  <a:pt x="157" y="810"/>
                  <a:pt x="148" y="773"/>
                  <a:pt x="169" y="772"/>
                </a:cubicBezTo>
                <a:cubicBezTo>
                  <a:pt x="158" y="762"/>
                  <a:pt x="177" y="744"/>
                  <a:pt x="180" y="737"/>
                </a:cubicBezTo>
                <a:cubicBezTo>
                  <a:pt x="187" y="725"/>
                  <a:pt x="189" y="701"/>
                  <a:pt x="204" y="702"/>
                </a:cubicBezTo>
                <a:cubicBezTo>
                  <a:pt x="200" y="686"/>
                  <a:pt x="218" y="673"/>
                  <a:pt x="210" y="670"/>
                </a:cubicBezTo>
                <a:cubicBezTo>
                  <a:pt x="213" y="656"/>
                  <a:pt x="221" y="679"/>
                  <a:pt x="224" y="665"/>
                </a:cubicBezTo>
                <a:cubicBezTo>
                  <a:pt x="221" y="656"/>
                  <a:pt x="221" y="674"/>
                  <a:pt x="215" y="665"/>
                </a:cubicBezTo>
                <a:cubicBezTo>
                  <a:pt x="220" y="647"/>
                  <a:pt x="218" y="652"/>
                  <a:pt x="230" y="647"/>
                </a:cubicBezTo>
                <a:cubicBezTo>
                  <a:pt x="227" y="647"/>
                  <a:pt x="222" y="633"/>
                  <a:pt x="230" y="627"/>
                </a:cubicBezTo>
                <a:cubicBezTo>
                  <a:pt x="231" y="626"/>
                  <a:pt x="238" y="628"/>
                  <a:pt x="239" y="627"/>
                </a:cubicBezTo>
                <a:cubicBezTo>
                  <a:pt x="241" y="622"/>
                  <a:pt x="233" y="620"/>
                  <a:pt x="236" y="615"/>
                </a:cubicBezTo>
                <a:cubicBezTo>
                  <a:pt x="237" y="613"/>
                  <a:pt x="240" y="620"/>
                  <a:pt x="239" y="621"/>
                </a:cubicBezTo>
                <a:cubicBezTo>
                  <a:pt x="246" y="618"/>
                  <a:pt x="238" y="608"/>
                  <a:pt x="242" y="597"/>
                </a:cubicBezTo>
                <a:cubicBezTo>
                  <a:pt x="244" y="591"/>
                  <a:pt x="254" y="586"/>
                  <a:pt x="259" y="577"/>
                </a:cubicBezTo>
                <a:cubicBezTo>
                  <a:pt x="262" y="571"/>
                  <a:pt x="260" y="559"/>
                  <a:pt x="262" y="554"/>
                </a:cubicBezTo>
                <a:cubicBezTo>
                  <a:pt x="266" y="543"/>
                  <a:pt x="277" y="538"/>
                  <a:pt x="277" y="536"/>
                </a:cubicBezTo>
                <a:cubicBezTo>
                  <a:pt x="277" y="534"/>
                  <a:pt x="271" y="521"/>
                  <a:pt x="282" y="525"/>
                </a:cubicBezTo>
                <a:cubicBezTo>
                  <a:pt x="282" y="508"/>
                  <a:pt x="306" y="493"/>
                  <a:pt x="303" y="472"/>
                </a:cubicBezTo>
                <a:cubicBezTo>
                  <a:pt x="306" y="462"/>
                  <a:pt x="314" y="456"/>
                  <a:pt x="320" y="449"/>
                </a:cubicBezTo>
                <a:cubicBezTo>
                  <a:pt x="332" y="418"/>
                  <a:pt x="335" y="385"/>
                  <a:pt x="352" y="350"/>
                </a:cubicBezTo>
                <a:cubicBezTo>
                  <a:pt x="350" y="354"/>
                  <a:pt x="368" y="337"/>
                  <a:pt x="370" y="332"/>
                </a:cubicBezTo>
                <a:cubicBezTo>
                  <a:pt x="377" y="318"/>
                  <a:pt x="378" y="298"/>
                  <a:pt x="385" y="283"/>
                </a:cubicBezTo>
                <a:cubicBezTo>
                  <a:pt x="414" y="212"/>
                  <a:pt x="449" y="139"/>
                  <a:pt x="472" y="67"/>
                </a:cubicBezTo>
                <a:cubicBezTo>
                  <a:pt x="479" y="46"/>
                  <a:pt x="488" y="24"/>
                  <a:pt x="492" y="0"/>
                </a:cubicBezTo>
              </a:path>
            </a:pathLst>
          </a:custGeom>
          <a:solidFill>
            <a:schemeClr val="accent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</p:spTree>
    <p:extLst>
      <p:ext uri="{BB962C8B-B14F-4D97-AF65-F5344CB8AC3E}">
        <p14:creationId xmlns:p14="http://schemas.microsoft.com/office/powerpoint/2010/main" val="16804900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>
                <a:solidFill>
                  <a:schemeClr val="accent1"/>
                </a:solidFill>
              </a:rPr>
              <a:t>Identify… </a:t>
            </a:r>
            <a:r>
              <a:rPr lang="en-US" dirty="0" smtClean="0"/>
              <a:t>all impacted groups</a:t>
            </a:r>
            <a:endParaRPr lang="en-CA" dirty="0"/>
          </a:p>
        </p:txBody>
      </p:sp>
      <p:sp>
        <p:nvSpPr>
          <p:cNvPr id="14" name="Freeform 13" descr="AngleDoubleRight Icon"/>
          <p:cNvSpPr>
            <a:spLocks noEditPoints="1"/>
          </p:cNvSpPr>
          <p:nvPr/>
        </p:nvSpPr>
        <p:spPr bwMode="auto">
          <a:xfrm>
            <a:off x="613485" y="1553609"/>
            <a:ext cx="493163" cy="539091"/>
          </a:xfrm>
          <a:custGeom>
            <a:avLst/>
            <a:gdLst>
              <a:gd name="T0" fmla="*/ 137 w 232"/>
              <a:gd name="T1" fmla="*/ 126 h 240"/>
              <a:gd name="T2" fmla="*/ 25 w 232"/>
              <a:gd name="T3" fmla="*/ 238 h 240"/>
              <a:gd name="T4" fmla="*/ 20 w 232"/>
              <a:gd name="T5" fmla="*/ 240 h 240"/>
              <a:gd name="T6" fmla="*/ 14 w 232"/>
              <a:gd name="T7" fmla="*/ 238 h 240"/>
              <a:gd name="T8" fmla="*/ 2 w 232"/>
              <a:gd name="T9" fmla="*/ 226 h 240"/>
              <a:gd name="T10" fmla="*/ 0 w 232"/>
              <a:gd name="T11" fmla="*/ 220 h 240"/>
              <a:gd name="T12" fmla="*/ 2 w 232"/>
              <a:gd name="T13" fmla="*/ 215 h 240"/>
              <a:gd name="T14" fmla="*/ 97 w 232"/>
              <a:gd name="T15" fmla="*/ 120 h 240"/>
              <a:gd name="T16" fmla="*/ 2 w 232"/>
              <a:gd name="T17" fmla="*/ 26 h 240"/>
              <a:gd name="T18" fmla="*/ 0 w 232"/>
              <a:gd name="T19" fmla="*/ 20 h 240"/>
              <a:gd name="T20" fmla="*/ 2 w 232"/>
              <a:gd name="T21" fmla="*/ 15 h 240"/>
              <a:gd name="T22" fmla="*/ 14 w 232"/>
              <a:gd name="T23" fmla="*/ 3 h 240"/>
              <a:gd name="T24" fmla="*/ 20 w 232"/>
              <a:gd name="T25" fmla="*/ 0 h 240"/>
              <a:gd name="T26" fmla="*/ 25 w 232"/>
              <a:gd name="T27" fmla="*/ 3 h 240"/>
              <a:gd name="T28" fmla="*/ 137 w 232"/>
              <a:gd name="T29" fmla="*/ 115 h 240"/>
              <a:gd name="T30" fmla="*/ 140 w 232"/>
              <a:gd name="T31" fmla="*/ 120 h 240"/>
              <a:gd name="T32" fmla="*/ 137 w 232"/>
              <a:gd name="T33" fmla="*/ 126 h 240"/>
              <a:gd name="T34" fmla="*/ 230 w 232"/>
              <a:gd name="T35" fmla="*/ 126 h 240"/>
              <a:gd name="T36" fmla="*/ 118 w 232"/>
              <a:gd name="T37" fmla="*/ 238 h 240"/>
              <a:gd name="T38" fmla="*/ 112 w 232"/>
              <a:gd name="T39" fmla="*/ 240 h 240"/>
              <a:gd name="T40" fmla="*/ 107 w 232"/>
              <a:gd name="T41" fmla="*/ 238 h 240"/>
              <a:gd name="T42" fmla="*/ 95 w 232"/>
              <a:gd name="T43" fmla="*/ 226 h 240"/>
              <a:gd name="T44" fmla="*/ 92 w 232"/>
              <a:gd name="T45" fmla="*/ 220 h 240"/>
              <a:gd name="T46" fmla="*/ 95 w 232"/>
              <a:gd name="T47" fmla="*/ 215 h 240"/>
              <a:gd name="T48" fmla="*/ 189 w 232"/>
              <a:gd name="T49" fmla="*/ 120 h 240"/>
              <a:gd name="T50" fmla="*/ 95 w 232"/>
              <a:gd name="T51" fmla="*/ 26 h 240"/>
              <a:gd name="T52" fmla="*/ 92 w 232"/>
              <a:gd name="T53" fmla="*/ 20 h 240"/>
              <a:gd name="T54" fmla="*/ 95 w 232"/>
              <a:gd name="T55" fmla="*/ 15 h 240"/>
              <a:gd name="T56" fmla="*/ 107 w 232"/>
              <a:gd name="T57" fmla="*/ 3 h 240"/>
              <a:gd name="T58" fmla="*/ 112 w 232"/>
              <a:gd name="T59" fmla="*/ 0 h 240"/>
              <a:gd name="T60" fmla="*/ 118 w 232"/>
              <a:gd name="T61" fmla="*/ 3 h 240"/>
              <a:gd name="T62" fmla="*/ 230 w 232"/>
              <a:gd name="T63" fmla="*/ 115 h 240"/>
              <a:gd name="T64" fmla="*/ 232 w 232"/>
              <a:gd name="T65" fmla="*/ 120 h 240"/>
              <a:gd name="T66" fmla="*/ 230 w 232"/>
              <a:gd name="T67" fmla="*/ 126 h 2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</a:cxnLst>
            <a:rect l="0" t="0" r="r" b="b"/>
            <a:pathLst>
              <a:path w="232" h="240">
                <a:moveTo>
                  <a:pt x="137" y="126"/>
                </a:moveTo>
                <a:cubicBezTo>
                  <a:pt x="25" y="238"/>
                  <a:pt x="25" y="238"/>
                  <a:pt x="25" y="238"/>
                </a:cubicBezTo>
                <a:cubicBezTo>
                  <a:pt x="24" y="239"/>
                  <a:pt x="22" y="240"/>
                  <a:pt x="20" y="240"/>
                </a:cubicBezTo>
                <a:cubicBezTo>
                  <a:pt x="18" y="240"/>
                  <a:pt x="16" y="239"/>
                  <a:pt x="14" y="238"/>
                </a:cubicBezTo>
                <a:cubicBezTo>
                  <a:pt x="2" y="226"/>
                  <a:pt x="2" y="226"/>
                  <a:pt x="2" y="226"/>
                </a:cubicBezTo>
                <a:cubicBezTo>
                  <a:pt x="1" y="224"/>
                  <a:pt x="0" y="222"/>
                  <a:pt x="0" y="220"/>
                </a:cubicBezTo>
                <a:cubicBezTo>
                  <a:pt x="0" y="218"/>
                  <a:pt x="1" y="216"/>
                  <a:pt x="2" y="215"/>
                </a:cubicBezTo>
                <a:cubicBezTo>
                  <a:pt x="97" y="120"/>
                  <a:pt x="97" y="120"/>
                  <a:pt x="97" y="120"/>
                </a:cubicBezTo>
                <a:cubicBezTo>
                  <a:pt x="2" y="26"/>
                  <a:pt x="2" y="26"/>
                  <a:pt x="2" y="26"/>
                </a:cubicBezTo>
                <a:cubicBezTo>
                  <a:pt x="1" y="24"/>
                  <a:pt x="0" y="22"/>
                  <a:pt x="0" y="20"/>
                </a:cubicBezTo>
                <a:cubicBezTo>
                  <a:pt x="0" y="18"/>
                  <a:pt x="1" y="16"/>
                  <a:pt x="2" y="15"/>
                </a:cubicBezTo>
                <a:cubicBezTo>
                  <a:pt x="14" y="3"/>
                  <a:pt x="14" y="3"/>
                  <a:pt x="14" y="3"/>
                </a:cubicBezTo>
                <a:cubicBezTo>
                  <a:pt x="16" y="1"/>
                  <a:pt x="18" y="0"/>
                  <a:pt x="20" y="0"/>
                </a:cubicBezTo>
                <a:cubicBezTo>
                  <a:pt x="22" y="0"/>
                  <a:pt x="24" y="1"/>
                  <a:pt x="25" y="3"/>
                </a:cubicBezTo>
                <a:cubicBezTo>
                  <a:pt x="137" y="115"/>
                  <a:pt x="137" y="115"/>
                  <a:pt x="137" y="115"/>
                </a:cubicBezTo>
                <a:cubicBezTo>
                  <a:pt x="139" y="116"/>
                  <a:pt x="140" y="118"/>
                  <a:pt x="140" y="120"/>
                </a:cubicBezTo>
                <a:cubicBezTo>
                  <a:pt x="140" y="122"/>
                  <a:pt x="139" y="124"/>
                  <a:pt x="137" y="126"/>
                </a:cubicBezTo>
                <a:close/>
                <a:moveTo>
                  <a:pt x="230" y="126"/>
                </a:moveTo>
                <a:cubicBezTo>
                  <a:pt x="118" y="238"/>
                  <a:pt x="118" y="238"/>
                  <a:pt x="118" y="238"/>
                </a:cubicBezTo>
                <a:cubicBezTo>
                  <a:pt x="116" y="239"/>
                  <a:pt x="114" y="240"/>
                  <a:pt x="112" y="240"/>
                </a:cubicBezTo>
                <a:cubicBezTo>
                  <a:pt x="110" y="240"/>
                  <a:pt x="108" y="239"/>
                  <a:pt x="107" y="238"/>
                </a:cubicBezTo>
                <a:cubicBezTo>
                  <a:pt x="95" y="226"/>
                  <a:pt x="95" y="226"/>
                  <a:pt x="95" y="226"/>
                </a:cubicBezTo>
                <a:cubicBezTo>
                  <a:pt x="93" y="224"/>
                  <a:pt x="92" y="222"/>
                  <a:pt x="92" y="220"/>
                </a:cubicBezTo>
                <a:cubicBezTo>
                  <a:pt x="92" y="218"/>
                  <a:pt x="93" y="216"/>
                  <a:pt x="95" y="215"/>
                </a:cubicBezTo>
                <a:cubicBezTo>
                  <a:pt x="189" y="120"/>
                  <a:pt x="189" y="120"/>
                  <a:pt x="189" y="120"/>
                </a:cubicBezTo>
                <a:cubicBezTo>
                  <a:pt x="95" y="26"/>
                  <a:pt x="95" y="26"/>
                  <a:pt x="95" y="26"/>
                </a:cubicBezTo>
                <a:cubicBezTo>
                  <a:pt x="93" y="24"/>
                  <a:pt x="92" y="22"/>
                  <a:pt x="92" y="20"/>
                </a:cubicBezTo>
                <a:cubicBezTo>
                  <a:pt x="92" y="18"/>
                  <a:pt x="93" y="16"/>
                  <a:pt x="95" y="15"/>
                </a:cubicBezTo>
                <a:cubicBezTo>
                  <a:pt x="107" y="3"/>
                  <a:pt x="107" y="3"/>
                  <a:pt x="107" y="3"/>
                </a:cubicBezTo>
                <a:cubicBezTo>
                  <a:pt x="108" y="1"/>
                  <a:pt x="110" y="0"/>
                  <a:pt x="112" y="0"/>
                </a:cubicBezTo>
                <a:cubicBezTo>
                  <a:pt x="114" y="0"/>
                  <a:pt x="116" y="1"/>
                  <a:pt x="118" y="3"/>
                </a:cubicBezTo>
                <a:cubicBezTo>
                  <a:pt x="230" y="115"/>
                  <a:pt x="230" y="115"/>
                  <a:pt x="230" y="115"/>
                </a:cubicBezTo>
                <a:cubicBezTo>
                  <a:pt x="231" y="116"/>
                  <a:pt x="232" y="118"/>
                  <a:pt x="232" y="120"/>
                </a:cubicBezTo>
                <a:cubicBezTo>
                  <a:pt x="232" y="122"/>
                  <a:pt x="231" y="124"/>
                  <a:pt x="230" y="126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graphicFrame>
        <p:nvGraphicFramePr>
          <p:cNvPr id="16" name="Table 15" title="green squar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95007"/>
              </p:ext>
            </p:extLst>
          </p:nvPr>
        </p:nvGraphicFramePr>
        <p:xfrm>
          <a:off x="1260839" y="1529812"/>
          <a:ext cx="4414685" cy="1017566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414685"/>
              </a:tblGrid>
              <a:tr h="1017566">
                <a:tc>
                  <a:txBody>
                    <a:bodyPr/>
                    <a:lstStyle/>
                    <a:p>
                      <a:pPr marL="342900" lvl="0" indent="-342900">
                        <a:buFont typeface="+mj-lt"/>
                        <a:buAutoNum type="arabicPeriod" startAt="5"/>
                        <a:defRPr/>
                      </a:pPr>
                      <a:r>
                        <a:rPr lang="en-US" dirty="0" smtClean="0"/>
                        <a:t>On the “</a:t>
                      </a:r>
                      <a:r>
                        <a:rPr lang="en-US" b="1" dirty="0" smtClean="0"/>
                        <a:t>Assess</a:t>
                      </a:r>
                      <a:r>
                        <a:rPr lang="en-US" b="1" baseline="0" dirty="0" smtClean="0"/>
                        <a:t> the champions</a:t>
                      </a:r>
                      <a:r>
                        <a:rPr lang="en-US" baseline="0" dirty="0" smtClean="0"/>
                        <a:t>”</a:t>
                      </a:r>
                      <a:r>
                        <a:rPr lang="en-US" dirty="0" smtClean="0"/>
                        <a:t> tab, fill out </a:t>
                      </a:r>
                      <a:r>
                        <a:rPr lang="en-US" b="0" dirty="0" smtClean="0"/>
                        <a:t>the </a:t>
                      </a:r>
                      <a:r>
                        <a:rPr lang="en-US" b="1" dirty="0" smtClean="0"/>
                        <a:t>Impacted group name </a:t>
                      </a:r>
                      <a:r>
                        <a:rPr lang="en-US" dirty="0" smtClean="0"/>
                        <a:t>in </a:t>
                      </a:r>
                      <a:r>
                        <a:rPr lang="en-US" dirty="0" smtClean="0">
                          <a:solidFill>
                            <a:schemeClr val="tx1"/>
                          </a:solidFill>
                        </a:rPr>
                        <a:t>column</a:t>
                      </a:r>
                      <a:r>
                        <a:rPr lang="en-US" baseline="0" dirty="0" smtClean="0">
                          <a:solidFill>
                            <a:schemeClr val="tx1"/>
                          </a:solidFill>
                        </a:rPr>
                        <a:t> A.</a:t>
                      </a:r>
                      <a:endParaRPr lang="en-CA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12" name="Freeform 11" descr="green arrow connection the text on the left to the image on the right." title="green arrow"/>
          <p:cNvSpPr>
            <a:spLocks/>
          </p:cNvSpPr>
          <p:nvPr/>
        </p:nvSpPr>
        <p:spPr bwMode="auto">
          <a:xfrm rot="14261012">
            <a:off x="5720823" y="1744380"/>
            <a:ext cx="481610" cy="614221"/>
          </a:xfrm>
          <a:custGeom>
            <a:avLst/>
            <a:gdLst>
              <a:gd name="T0" fmla="*/ 492 w 600"/>
              <a:gd name="T1" fmla="*/ 0 h 1115"/>
              <a:gd name="T2" fmla="*/ 489 w 600"/>
              <a:gd name="T3" fmla="*/ 169 h 1115"/>
              <a:gd name="T4" fmla="*/ 452 w 600"/>
              <a:gd name="T5" fmla="*/ 254 h 1115"/>
              <a:gd name="T6" fmla="*/ 446 w 600"/>
              <a:gd name="T7" fmla="*/ 265 h 1115"/>
              <a:gd name="T8" fmla="*/ 143 w 600"/>
              <a:gd name="T9" fmla="*/ 930 h 1115"/>
              <a:gd name="T10" fmla="*/ 210 w 600"/>
              <a:gd name="T11" fmla="*/ 874 h 1115"/>
              <a:gd name="T12" fmla="*/ 364 w 600"/>
              <a:gd name="T13" fmla="*/ 769 h 1115"/>
              <a:gd name="T14" fmla="*/ 390 w 600"/>
              <a:gd name="T15" fmla="*/ 807 h 1115"/>
              <a:gd name="T16" fmla="*/ 387 w 600"/>
              <a:gd name="T17" fmla="*/ 813 h 1115"/>
              <a:gd name="T18" fmla="*/ 256 w 600"/>
              <a:gd name="T19" fmla="*/ 915 h 1115"/>
              <a:gd name="T20" fmla="*/ 259 w 600"/>
              <a:gd name="T21" fmla="*/ 924 h 1115"/>
              <a:gd name="T22" fmla="*/ 247 w 600"/>
              <a:gd name="T23" fmla="*/ 941 h 1115"/>
              <a:gd name="T24" fmla="*/ 207 w 600"/>
              <a:gd name="T25" fmla="*/ 979 h 1115"/>
              <a:gd name="T26" fmla="*/ 58 w 600"/>
              <a:gd name="T27" fmla="*/ 1108 h 1115"/>
              <a:gd name="T28" fmla="*/ 0 w 600"/>
              <a:gd name="T29" fmla="*/ 1081 h 1115"/>
              <a:gd name="T30" fmla="*/ 41 w 600"/>
              <a:gd name="T31" fmla="*/ 1038 h 1115"/>
              <a:gd name="T32" fmla="*/ 23 w 600"/>
              <a:gd name="T33" fmla="*/ 927 h 1115"/>
              <a:gd name="T34" fmla="*/ 35 w 600"/>
              <a:gd name="T35" fmla="*/ 909 h 1115"/>
              <a:gd name="T36" fmla="*/ 26 w 600"/>
              <a:gd name="T37" fmla="*/ 667 h 1115"/>
              <a:gd name="T38" fmla="*/ 90 w 600"/>
              <a:gd name="T39" fmla="*/ 909 h 1115"/>
              <a:gd name="T40" fmla="*/ 145 w 600"/>
              <a:gd name="T41" fmla="*/ 799 h 1115"/>
              <a:gd name="T42" fmla="*/ 169 w 600"/>
              <a:gd name="T43" fmla="*/ 772 h 1115"/>
              <a:gd name="T44" fmla="*/ 180 w 600"/>
              <a:gd name="T45" fmla="*/ 737 h 1115"/>
              <a:gd name="T46" fmla="*/ 204 w 600"/>
              <a:gd name="T47" fmla="*/ 702 h 1115"/>
              <a:gd name="T48" fmla="*/ 210 w 600"/>
              <a:gd name="T49" fmla="*/ 670 h 1115"/>
              <a:gd name="T50" fmla="*/ 224 w 600"/>
              <a:gd name="T51" fmla="*/ 665 h 1115"/>
              <a:gd name="T52" fmla="*/ 215 w 600"/>
              <a:gd name="T53" fmla="*/ 665 h 1115"/>
              <a:gd name="T54" fmla="*/ 230 w 600"/>
              <a:gd name="T55" fmla="*/ 647 h 1115"/>
              <a:gd name="T56" fmla="*/ 230 w 600"/>
              <a:gd name="T57" fmla="*/ 627 h 1115"/>
              <a:gd name="T58" fmla="*/ 239 w 600"/>
              <a:gd name="T59" fmla="*/ 627 h 1115"/>
              <a:gd name="T60" fmla="*/ 236 w 600"/>
              <a:gd name="T61" fmla="*/ 615 h 1115"/>
              <a:gd name="T62" fmla="*/ 239 w 600"/>
              <a:gd name="T63" fmla="*/ 621 h 1115"/>
              <a:gd name="T64" fmla="*/ 242 w 600"/>
              <a:gd name="T65" fmla="*/ 597 h 1115"/>
              <a:gd name="T66" fmla="*/ 259 w 600"/>
              <a:gd name="T67" fmla="*/ 577 h 1115"/>
              <a:gd name="T68" fmla="*/ 262 w 600"/>
              <a:gd name="T69" fmla="*/ 554 h 1115"/>
              <a:gd name="T70" fmla="*/ 277 w 600"/>
              <a:gd name="T71" fmla="*/ 536 h 1115"/>
              <a:gd name="T72" fmla="*/ 282 w 600"/>
              <a:gd name="T73" fmla="*/ 525 h 1115"/>
              <a:gd name="T74" fmla="*/ 303 w 600"/>
              <a:gd name="T75" fmla="*/ 472 h 1115"/>
              <a:gd name="T76" fmla="*/ 320 w 600"/>
              <a:gd name="T77" fmla="*/ 449 h 1115"/>
              <a:gd name="T78" fmla="*/ 352 w 600"/>
              <a:gd name="T79" fmla="*/ 350 h 1115"/>
              <a:gd name="T80" fmla="*/ 370 w 600"/>
              <a:gd name="T81" fmla="*/ 332 h 1115"/>
              <a:gd name="T82" fmla="*/ 385 w 600"/>
              <a:gd name="T83" fmla="*/ 283 h 1115"/>
              <a:gd name="T84" fmla="*/ 472 w 600"/>
              <a:gd name="T85" fmla="*/ 67 h 1115"/>
              <a:gd name="T86" fmla="*/ 492 w 600"/>
              <a:gd name="T87" fmla="*/ 0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0" h="1115">
                <a:moveTo>
                  <a:pt x="492" y="0"/>
                </a:moveTo>
                <a:cubicBezTo>
                  <a:pt x="600" y="3"/>
                  <a:pt x="508" y="123"/>
                  <a:pt x="489" y="169"/>
                </a:cubicBezTo>
                <a:cubicBezTo>
                  <a:pt x="478" y="199"/>
                  <a:pt x="468" y="228"/>
                  <a:pt x="452" y="254"/>
                </a:cubicBezTo>
                <a:cubicBezTo>
                  <a:pt x="451" y="255"/>
                  <a:pt x="446" y="264"/>
                  <a:pt x="446" y="265"/>
                </a:cubicBezTo>
                <a:cubicBezTo>
                  <a:pt x="360" y="478"/>
                  <a:pt x="239" y="724"/>
                  <a:pt x="143" y="930"/>
                </a:cubicBezTo>
                <a:cubicBezTo>
                  <a:pt x="171" y="911"/>
                  <a:pt x="177" y="886"/>
                  <a:pt x="210" y="874"/>
                </a:cubicBezTo>
                <a:cubicBezTo>
                  <a:pt x="251" y="829"/>
                  <a:pt x="291" y="783"/>
                  <a:pt x="364" y="769"/>
                </a:cubicBezTo>
                <a:cubicBezTo>
                  <a:pt x="376" y="779"/>
                  <a:pt x="394" y="782"/>
                  <a:pt x="390" y="807"/>
                </a:cubicBezTo>
                <a:cubicBezTo>
                  <a:pt x="388" y="808"/>
                  <a:pt x="388" y="811"/>
                  <a:pt x="387" y="813"/>
                </a:cubicBezTo>
                <a:cubicBezTo>
                  <a:pt x="335" y="837"/>
                  <a:pt x="285" y="878"/>
                  <a:pt x="256" y="915"/>
                </a:cubicBezTo>
                <a:cubicBezTo>
                  <a:pt x="250" y="914"/>
                  <a:pt x="257" y="924"/>
                  <a:pt x="259" y="924"/>
                </a:cubicBezTo>
                <a:cubicBezTo>
                  <a:pt x="258" y="931"/>
                  <a:pt x="241" y="937"/>
                  <a:pt x="247" y="941"/>
                </a:cubicBezTo>
                <a:cubicBezTo>
                  <a:pt x="238" y="947"/>
                  <a:pt x="207" y="949"/>
                  <a:pt x="207" y="979"/>
                </a:cubicBezTo>
                <a:cubicBezTo>
                  <a:pt x="162" y="991"/>
                  <a:pt x="106" y="1089"/>
                  <a:pt x="58" y="1108"/>
                </a:cubicBezTo>
                <a:cubicBezTo>
                  <a:pt x="39" y="1115"/>
                  <a:pt x="5" y="1104"/>
                  <a:pt x="0" y="1081"/>
                </a:cubicBezTo>
                <a:cubicBezTo>
                  <a:pt x="3" y="1070"/>
                  <a:pt x="43" y="1048"/>
                  <a:pt x="41" y="1038"/>
                </a:cubicBezTo>
                <a:cubicBezTo>
                  <a:pt x="32" y="1008"/>
                  <a:pt x="42" y="944"/>
                  <a:pt x="23" y="927"/>
                </a:cubicBezTo>
                <a:cubicBezTo>
                  <a:pt x="25" y="919"/>
                  <a:pt x="31" y="916"/>
                  <a:pt x="35" y="909"/>
                </a:cubicBezTo>
                <a:cubicBezTo>
                  <a:pt x="34" y="840"/>
                  <a:pt x="38" y="733"/>
                  <a:pt x="26" y="667"/>
                </a:cubicBezTo>
                <a:cubicBezTo>
                  <a:pt x="139" y="635"/>
                  <a:pt x="82" y="842"/>
                  <a:pt x="90" y="909"/>
                </a:cubicBezTo>
                <a:cubicBezTo>
                  <a:pt x="114" y="885"/>
                  <a:pt x="134" y="835"/>
                  <a:pt x="145" y="799"/>
                </a:cubicBezTo>
                <a:cubicBezTo>
                  <a:pt x="157" y="810"/>
                  <a:pt x="148" y="773"/>
                  <a:pt x="169" y="772"/>
                </a:cubicBezTo>
                <a:cubicBezTo>
                  <a:pt x="158" y="762"/>
                  <a:pt x="177" y="744"/>
                  <a:pt x="180" y="737"/>
                </a:cubicBezTo>
                <a:cubicBezTo>
                  <a:pt x="187" y="725"/>
                  <a:pt x="189" y="701"/>
                  <a:pt x="204" y="702"/>
                </a:cubicBezTo>
                <a:cubicBezTo>
                  <a:pt x="200" y="686"/>
                  <a:pt x="218" y="673"/>
                  <a:pt x="210" y="670"/>
                </a:cubicBezTo>
                <a:cubicBezTo>
                  <a:pt x="213" y="656"/>
                  <a:pt x="221" y="679"/>
                  <a:pt x="224" y="665"/>
                </a:cubicBezTo>
                <a:cubicBezTo>
                  <a:pt x="221" y="656"/>
                  <a:pt x="221" y="674"/>
                  <a:pt x="215" y="665"/>
                </a:cubicBezTo>
                <a:cubicBezTo>
                  <a:pt x="220" y="647"/>
                  <a:pt x="218" y="652"/>
                  <a:pt x="230" y="647"/>
                </a:cubicBezTo>
                <a:cubicBezTo>
                  <a:pt x="227" y="647"/>
                  <a:pt x="222" y="633"/>
                  <a:pt x="230" y="627"/>
                </a:cubicBezTo>
                <a:cubicBezTo>
                  <a:pt x="231" y="626"/>
                  <a:pt x="238" y="628"/>
                  <a:pt x="239" y="627"/>
                </a:cubicBezTo>
                <a:cubicBezTo>
                  <a:pt x="241" y="622"/>
                  <a:pt x="233" y="620"/>
                  <a:pt x="236" y="615"/>
                </a:cubicBezTo>
                <a:cubicBezTo>
                  <a:pt x="237" y="613"/>
                  <a:pt x="240" y="620"/>
                  <a:pt x="239" y="621"/>
                </a:cubicBezTo>
                <a:cubicBezTo>
                  <a:pt x="246" y="618"/>
                  <a:pt x="238" y="608"/>
                  <a:pt x="242" y="597"/>
                </a:cubicBezTo>
                <a:cubicBezTo>
                  <a:pt x="244" y="591"/>
                  <a:pt x="254" y="586"/>
                  <a:pt x="259" y="577"/>
                </a:cubicBezTo>
                <a:cubicBezTo>
                  <a:pt x="262" y="571"/>
                  <a:pt x="260" y="559"/>
                  <a:pt x="262" y="554"/>
                </a:cubicBezTo>
                <a:cubicBezTo>
                  <a:pt x="266" y="543"/>
                  <a:pt x="277" y="538"/>
                  <a:pt x="277" y="536"/>
                </a:cubicBezTo>
                <a:cubicBezTo>
                  <a:pt x="277" y="534"/>
                  <a:pt x="271" y="521"/>
                  <a:pt x="282" y="525"/>
                </a:cubicBezTo>
                <a:cubicBezTo>
                  <a:pt x="282" y="508"/>
                  <a:pt x="306" y="493"/>
                  <a:pt x="303" y="472"/>
                </a:cubicBezTo>
                <a:cubicBezTo>
                  <a:pt x="306" y="462"/>
                  <a:pt x="314" y="456"/>
                  <a:pt x="320" y="449"/>
                </a:cubicBezTo>
                <a:cubicBezTo>
                  <a:pt x="332" y="418"/>
                  <a:pt x="335" y="385"/>
                  <a:pt x="352" y="350"/>
                </a:cubicBezTo>
                <a:cubicBezTo>
                  <a:pt x="350" y="354"/>
                  <a:pt x="368" y="337"/>
                  <a:pt x="370" y="332"/>
                </a:cubicBezTo>
                <a:cubicBezTo>
                  <a:pt x="377" y="318"/>
                  <a:pt x="378" y="298"/>
                  <a:pt x="385" y="283"/>
                </a:cubicBezTo>
                <a:cubicBezTo>
                  <a:pt x="414" y="212"/>
                  <a:pt x="449" y="139"/>
                  <a:pt x="472" y="67"/>
                </a:cubicBezTo>
                <a:cubicBezTo>
                  <a:pt x="479" y="46"/>
                  <a:pt x="488" y="24"/>
                  <a:pt x="492" y="0"/>
                </a:cubicBezTo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pic>
        <p:nvPicPr>
          <p:cNvPr id="17" name="Picture 16" descr="an image of where to enter the impacted group names which is column A." title="Screen capture of the ass the champions 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524554" y="1529812"/>
            <a:ext cx="4990550" cy="4556589"/>
          </a:xfrm>
          <a:prstGeom prst="rect">
            <a:avLst/>
          </a:prstGeom>
        </p:spPr>
      </p:pic>
      <p:sp>
        <p:nvSpPr>
          <p:cNvPr id="24" name="Freeform 23" descr="highlighting the impacted group name column" title="black circle"/>
          <p:cNvSpPr>
            <a:spLocks/>
          </p:cNvSpPr>
          <p:nvPr>
            <p:custDataLst>
              <p:tags r:id="rId1"/>
            </p:custDataLst>
          </p:nvPr>
        </p:nvSpPr>
        <p:spPr bwMode="auto">
          <a:xfrm>
            <a:off x="6330100" y="2993443"/>
            <a:ext cx="3101883" cy="448871"/>
          </a:xfrm>
          <a:custGeom>
            <a:avLst/>
            <a:gdLst>
              <a:gd name="T0" fmla="*/ 274 w 326"/>
              <a:gd name="T1" fmla="*/ 34 h 180"/>
              <a:gd name="T2" fmla="*/ 209 w 326"/>
              <a:gd name="T3" fmla="*/ 11 h 180"/>
              <a:gd name="T4" fmla="*/ 63 w 326"/>
              <a:gd name="T5" fmla="*/ 43 h 180"/>
              <a:gd name="T6" fmla="*/ 18 w 326"/>
              <a:gd name="T7" fmla="*/ 101 h 180"/>
              <a:gd name="T8" fmla="*/ 39 w 326"/>
              <a:gd name="T9" fmla="*/ 145 h 180"/>
              <a:gd name="T10" fmla="*/ 97 w 326"/>
              <a:gd name="T11" fmla="*/ 158 h 180"/>
              <a:gd name="T12" fmla="*/ 246 w 326"/>
              <a:gd name="T13" fmla="*/ 144 h 180"/>
              <a:gd name="T14" fmla="*/ 294 w 326"/>
              <a:gd name="T15" fmla="*/ 118 h 180"/>
              <a:gd name="T16" fmla="*/ 291 w 326"/>
              <a:gd name="T17" fmla="*/ 71 h 180"/>
              <a:gd name="T18" fmla="*/ 227 w 326"/>
              <a:gd name="T19" fmla="*/ 48 h 180"/>
              <a:gd name="T20" fmla="*/ 208 w 326"/>
              <a:gd name="T21" fmla="*/ 42 h 180"/>
              <a:gd name="T22" fmla="*/ 202 w 326"/>
              <a:gd name="T23" fmla="*/ 32 h 180"/>
              <a:gd name="T24" fmla="*/ 213 w 326"/>
              <a:gd name="T25" fmla="*/ 26 h 180"/>
              <a:gd name="T26" fmla="*/ 283 w 326"/>
              <a:gd name="T27" fmla="*/ 50 h 180"/>
              <a:gd name="T28" fmla="*/ 311 w 326"/>
              <a:gd name="T29" fmla="*/ 71 h 180"/>
              <a:gd name="T30" fmla="*/ 317 w 326"/>
              <a:gd name="T31" fmla="*/ 115 h 180"/>
              <a:gd name="T32" fmla="*/ 276 w 326"/>
              <a:gd name="T33" fmla="*/ 152 h 180"/>
              <a:gd name="T34" fmla="*/ 194 w 326"/>
              <a:gd name="T35" fmla="*/ 174 h 180"/>
              <a:gd name="T36" fmla="*/ 54 w 326"/>
              <a:gd name="T37" fmla="*/ 165 h 180"/>
              <a:gd name="T38" fmla="*/ 29 w 326"/>
              <a:gd name="T39" fmla="*/ 154 h 180"/>
              <a:gd name="T40" fmla="*/ 5 w 326"/>
              <a:gd name="T41" fmla="*/ 100 h 180"/>
              <a:gd name="T42" fmla="*/ 49 w 326"/>
              <a:gd name="T43" fmla="*/ 38 h 180"/>
              <a:gd name="T44" fmla="*/ 149 w 326"/>
              <a:gd name="T45" fmla="*/ 4 h 180"/>
              <a:gd name="T46" fmla="*/ 242 w 326"/>
              <a:gd name="T47" fmla="*/ 10 h 180"/>
              <a:gd name="T48" fmla="*/ 274 w 326"/>
              <a:gd name="T49" fmla="*/ 3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6" h="180">
                <a:moveTo>
                  <a:pt x="274" y="34"/>
                </a:moveTo>
                <a:cubicBezTo>
                  <a:pt x="256" y="14"/>
                  <a:pt x="232" y="12"/>
                  <a:pt x="209" y="11"/>
                </a:cubicBezTo>
                <a:cubicBezTo>
                  <a:pt x="158" y="8"/>
                  <a:pt x="108" y="15"/>
                  <a:pt x="63" y="43"/>
                </a:cubicBezTo>
                <a:cubicBezTo>
                  <a:pt x="41" y="57"/>
                  <a:pt x="24" y="75"/>
                  <a:pt x="18" y="101"/>
                </a:cubicBezTo>
                <a:cubicBezTo>
                  <a:pt x="13" y="121"/>
                  <a:pt x="19" y="138"/>
                  <a:pt x="39" y="145"/>
                </a:cubicBezTo>
                <a:cubicBezTo>
                  <a:pt x="57" y="151"/>
                  <a:pt x="77" y="155"/>
                  <a:pt x="97" y="158"/>
                </a:cubicBezTo>
                <a:cubicBezTo>
                  <a:pt x="147" y="164"/>
                  <a:pt x="197" y="160"/>
                  <a:pt x="246" y="144"/>
                </a:cubicBezTo>
                <a:cubicBezTo>
                  <a:pt x="263" y="138"/>
                  <a:pt x="280" y="131"/>
                  <a:pt x="294" y="118"/>
                </a:cubicBezTo>
                <a:cubicBezTo>
                  <a:pt x="314" y="101"/>
                  <a:pt x="313" y="86"/>
                  <a:pt x="291" y="71"/>
                </a:cubicBezTo>
                <a:cubicBezTo>
                  <a:pt x="272" y="58"/>
                  <a:pt x="249" y="53"/>
                  <a:pt x="227" y="48"/>
                </a:cubicBezTo>
                <a:cubicBezTo>
                  <a:pt x="220" y="46"/>
                  <a:pt x="214" y="44"/>
                  <a:pt x="208" y="42"/>
                </a:cubicBezTo>
                <a:cubicBezTo>
                  <a:pt x="203" y="41"/>
                  <a:pt x="200" y="37"/>
                  <a:pt x="202" y="32"/>
                </a:cubicBezTo>
                <a:cubicBezTo>
                  <a:pt x="203" y="27"/>
                  <a:pt x="207" y="24"/>
                  <a:pt x="213" y="26"/>
                </a:cubicBezTo>
                <a:cubicBezTo>
                  <a:pt x="236" y="34"/>
                  <a:pt x="260" y="41"/>
                  <a:pt x="283" y="50"/>
                </a:cubicBezTo>
                <a:cubicBezTo>
                  <a:pt x="293" y="55"/>
                  <a:pt x="303" y="63"/>
                  <a:pt x="311" y="71"/>
                </a:cubicBezTo>
                <a:cubicBezTo>
                  <a:pt x="324" y="84"/>
                  <a:pt x="326" y="99"/>
                  <a:pt x="317" y="115"/>
                </a:cubicBezTo>
                <a:cubicBezTo>
                  <a:pt x="308" y="132"/>
                  <a:pt x="293" y="143"/>
                  <a:pt x="276" y="152"/>
                </a:cubicBezTo>
                <a:cubicBezTo>
                  <a:pt x="251" y="165"/>
                  <a:pt x="223" y="171"/>
                  <a:pt x="194" y="174"/>
                </a:cubicBezTo>
                <a:cubicBezTo>
                  <a:pt x="147" y="180"/>
                  <a:pt x="100" y="176"/>
                  <a:pt x="54" y="165"/>
                </a:cubicBezTo>
                <a:cubicBezTo>
                  <a:pt x="45" y="162"/>
                  <a:pt x="37" y="159"/>
                  <a:pt x="29" y="154"/>
                </a:cubicBezTo>
                <a:cubicBezTo>
                  <a:pt x="8" y="143"/>
                  <a:pt x="0" y="122"/>
                  <a:pt x="5" y="100"/>
                </a:cubicBezTo>
                <a:cubicBezTo>
                  <a:pt x="11" y="73"/>
                  <a:pt x="27" y="53"/>
                  <a:pt x="49" y="38"/>
                </a:cubicBezTo>
                <a:cubicBezTo>
                  <a:pt x="79" y="18"/>
                  <a:pt x="113" y="8"/>
                  <a:pt x="149" y="4"/>
                </a:cubicBezTo>
                <a:cubicBezTo>
                  <a:pt x="180" y="0"/>
                  <a:pt x="212" y="2"/>
                  <a:pt x="242" y="10"/>
                </a:cubicBezTo>
                <a:cubicBezTo>
                  <a:pt x="260" y="15"/>
                  <a:pt x="269" y="22"/>
                  <a:pt x="274" y="34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19" name="Freeform 18" descr="Black arrow pointing to the impact group name column " title="Black arrow"/>
          <p:cNvSpPr>
            <a:spLocks/>
          </p:cNvSpPr>
          <p:nvPr/>
        </p:nvSpPr>
        <p:spPr bwMode="auto">
          <a:xfrm rot="19789181">
            <a:off x="8451168" y="3284668"/>
            <a:ext cx="668845" cy="979533"/>
          </a:xfrm>
          <a:custGeom>
            <a:avLst/>
            <a:gdLst>
              <a:gd name="T0" fmla="*/ 492 w 600"/>
              <a:gd name="T1" fmla="*/ 0 h 1115"/>
              <a:gd name="T2" fmla="*/ 489 w 600"/>
              <a:gd name="T3" fmla="*/ 169 h 1115"/>
              <a:gd name="T4" fmla="*/ 452 w 600"/>
              <a:gd name="T5" fmla="*/ 254 h 1115"/>
              <a:gd name="T6" fmla="*/ 446 w 600"/>
              <a:gd name="T7" fmla="*/ 265 h 1115"/>
              <a:gd name="T8" fmla="*/ 143 w 600"/>
              <a:gd name="T9" fmla="*/ 930 h 1115"/>
              <a:gd name="T10" fmla="*/ 210 w 600"/>
              <a:gd name="T11" fmla="*/ 874 h 1115"/>
              <a:gd name="T12" fmla="*/ 364 w 600"/>
              <a:gd name="T13" fmla="*/ 769 h 1115"/>
              <a:gd name="T14" fmla="*/ 390 w 600"/>
              <a:gd name="T15" fmla="*/ 807 h 1115"/>
              <a:gd name="T16" fmla="*/ 387 w 600"/>
              <a:gd name="T17" fmla="*/ 813 h 1115"/>
              <a:gd name="T18" fmla="*/ 256 w 600"/>
              <a:gd name="T19" fmla="*/ 915 h 1115"/>
              <a:gd name="T20" fmla="*/ 259 w 600"/>
              <a:gd name="T21" fmla="*/ 924 h 1115"/>
              <a:gd name="T22" fmla="*/ 247 w 600"/>
              <a:gd name="T23" fmla="*/ 941 h 1115"/>
              <a:gd name="T24" fmla="*/ 207 w 600"/>
              <a:gd name="T25" fmla="*/ 979 h 1115"/>
              <a:gd name="T26" fmla="*/ 58 w 600"/>
              <a:gd name="T27" fmla="*/ 1108 h 1115"/>
              <a:gd name="T28" fmla="*/ 0 w 600"/>
              <a:gd name="T29" fmla="*/ 1081 h 1115"/>
              <a:gd name="T30" fmla="*/ 41 w 600"/>
              <a:gd name="T31" fmla="*/ 1038 h 1115"/>
              <a:gd name="T32" fmla="*/ 23 w 600"/>
              <a:gd name="T33" fmla="*/ 927 h 1115"/>
              <a:gd name="T34" fmla="*/ 35 w 600"/>
              <a:gd name="T35" fmla="*/ 909 h 1115"/>
              <a:gd name="T36" fmla="*/ 26 w 600"/>
              <a:gd name="T37" fmla="*/ 667 h 1115"/>
              <a:gd name="T38" fmla="*/ 90 w 600"/>
              <a:gd name="T39" fmla="*/ 909 h 1115"/>
              <a:gd name="T40" fmla="*/ 145 w 600"/>
              <a:gd name="T41" fmla="*/ 799 h 1115"/>
              <a:gd name="T42" fmla="*/ 169 w 600"/>
              <a:gd name="T43" fmla="*/ 772 h 1115"/>
              <a:gd name="T44" fmla="*/ 180 w 600"/>
              <a:gd name="T45" fmla="*/ 737 h 1115"/>
              <a:gd name="T46" fmla="*/ 204 w 600"/>
              <a:gd name="T47" fmla="*/ 702 h 1115"/>
              <a:gd name="T48" fmla="*/ 210 w 600"/>
              <a:gd name="T49" fmla="*/ 670 h 1115"/>
              <a:gd name="T50" fmla="*/ 224 w 600"/>
              <a:gd name="T51" fmla="*/ 665 h 1115"/>
              <a:gd name="T52" fmla="*/ 215 w 600"/>
              <a:gd name="T53" fmla="*/ 665 h 1115"/>
              <a:gd name="T54" fmla="*/ 230 w 600"/>
              <a:gd name="T55" fmla="*/ 647 h 1115"/>
              <a:gd name="T56" fmla="*/ 230 w 600"/>
              <a:gd name="T57" fmla="*/ 627 h 1115"/>
              <a:gd name="T58" fmla="*/ 239 w 600"/>
              <a:gd name="T59" fmla="*/ 627 h 1115"/>
              <a:gd name="T60" fmla="*/ 236 w 600"/>
              <a:gd name="T61" fmla="*/ 615 h 1115"/>
              <a:gd name="T62" fmla="*/ 239 w 600"/>
              <a:gd name="T63" fmla="*/ 621 h 1115"/>
              <a:gd name="T64" fmla="*/ 242 w 600"/>
              <a:gd name="T65" fmla="*/ 597 h 1115"/>
              <a:gd name="T66" fmla="*/ 259 w 600"/>
              <a:gd name="T67" fmla="*/ 577 h 1115"/>
              <a:gd name="T68" fmla="*/ 262 w 600"/>
              <a:gd name="T69" fmla="*/ 554 h 1115"/>
              <a:gd name="T70" fmla="*/ 277 w 600"/>
              <a:gd name="T71" fmla="*/ 536 h 1115"/>
              <a:gd name="T72" fmla="*/ 282 w 600"/>
              <a:gd name="T73" fmla="*/ 525 h 1115"/>
              <a:gd name="T74" fmla="*/ 303 w 600"/>
              <a:gd name="T75" fmla="*/ 472 h 1115"/>
              <a:gd name="T76" fmla="*/ 320 w 600"/>
              <a:gd name="T77" fmla="*/ 449 h 1115"/>
              <a:gd name="T78" fmla="*/ 352 w 600"/>
              <a:gd name="T79" fmla="*/ 350 h 1115"/>
              <a:gd name="T80" fmla="*/ 370 w 600"/>
              <a:gd name="T81" fmla="*/ 332 h 1115"/>
              <a:gd name="T82" fmla="*/ 385 w 600"/>
              <a:gd name="T83" fmla="*/ 283 h 1115"/>
              <a:gd name="T84" fmla="*/ 472 w 600"/>
              <a:gd name="T85" fmla="*/ 67 h 1115"/>
              <a:gd name="T86" fmla="*/ 492 w 600"/>
              <a:gd name="T87" fmla="*/ 0 h 1115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</a:cxnLst>
            <a:rect l="0" t="0" r="r" b="b"/>
            <a:pathLst>
              <a:path w="600" h="1115">
                <a:moveTo>
                  <a:pt x="492" y="0"/>
                </a:moveTo>
                <a:cubicBezTo>
                  <a:pt x="600" y="3"/>
                  <a:pt x="508" y="123"/>
                  <a:pt x="489" y="169"/>
                </a:cubicBezTo>
                <a:cubicBezTo>
                  <a:pt x="478" y="199"/>
                  <a:pt x="468" y="228"/>
                  <a:pt x="452" y="254"/>
                </a:cubicBezTo>
                <a:cubicBezTo>
                  <a:pt x="451" y="255"/>
                  <a:pt x="446" y="264"/>
                  <a:pt x="446" y="265"/>
                </a:cubicBezTo>
                <a:cubicBezTo>
                  <a:pt x="360" y="478"/>
                  <a:pt x="239" y="724"/>
                  <a:pt x="143" y="930"/>
                </a:cubicBezTo>
                <a:cubicBezTo>
                  <a:pt x="171" y="911"/>
                  <a:pt x="177" y="886"/>
                  <a:pt x="210" y="874"/>
                </a:cubicBezTo>
                <a:cubicBezTo>
                  <a:pt x="251" y="829"/>
                  <a:pt x="291" y="783"/>
                  <a:pt x="364" y="769"/>
                </a:cubicBezTo>
                <a:cubicBezTo>
                  <a:pt x="376" y="779"/>
                  <a:pt x="394" y="782"/>
                  <a:pt x="390" y="807"/>
                </a:cubicBezTo>
                <a:cubicBezTo>
                  <a:pt x="388" y="808"/>
                  <a:pt x="388" y="811"/>
                  <a:pt x="387" y="813"/>
                </a:cubicBezTo>
                <a:cubicBezTo>
                  <a:pt x="335" y="837"/>
                  <a:pt x="285" y="878"/>
                  <a:pt x="256" y="915"/>
                </a:cubicBezTo>
                <a:cubicBezTo>
                  <a:pt x="250" y="914"/>
                  <a:pt x="257" y="924"/>
                  <a:pt x="259" y="924"/>
                </a:cubicBezTo>
                <a:cubicBezTo>
                  <a:pt x="258" y="931"/>
                  <a:pt x="241" y="937"/>
                  <a:pt x="247" y="941"/>
                </a:cubicBezTo>
                <a:cubicBezTo>
                  <a:pt x="238" y="947"/>
                  <a:pt x="207" y="949"/>
                  <a:pt x="207" y="979"/>
                </a:cubicBezTo>
                <a:cubicBezTo>
                  <a:pt x="162" y="991"/>
                  <a:pt x="106" y="1089"/>
                  <a:pt x="58" y="1108"/>
                </a:cubicBezTo>
                <a:cubicBezTo>
                  <a:pt x="39" y="1115"/>
                  <a:pt x="5" y="1104"/>
                  <a:pt x="0" y="1081"/>
                </a:cubicBezTo>
                <a:cubicBezTo>
                  <a:pt x="3" y="1070"/>
                  <a:pt x="43" y="1048"/>
                  <a:pt x="41" y="1038"/>
                </a:cubicBezTo>
                <a:cubicBezTo>
                  <a:pt x="32" y="1008"/>
                  <a:pt x="42" y="944"/>
                  <a:pt x="23" y="927"/>
                </a:cubicBezTo>
                <a:cubicBezTo>
                  <a:pt x="25" y="919"/>
                  <a:pt x="31" y="916"/>
                  <a:pt x="35" y="909"/>
                </a:cubicBezTo>
                <a:cubicBezTo>
                  <a:pt x="34" y="840"/>
                  <a:pt x="38" y="733"/>
                  <a:pt x="26" y="667"/>
                </a:cubicBezTo>
                <a:cubicBezTo>
                  <a:pt x="139" y="635"/>
                  <a:pt x="82" y="842"/>
                  <a:pt x="90" y="909"/>
                </a:cubicBezTo>
                <a:cubicBezTo>
                  <a:pt x="114" y="885"/>
                  <a:pt x="134" y="835"/>
                  <a:pt x="145" y="799"/>
                </a:cubicBezTo>
                <a:cubicBezTo>
                  <a:pt x="157" y="810"/>
                  <a:pt x="148" y="773"/>
                  <a:pt x="169" y="772"/>
                </a:cubicBezTo>
                <a:cubicBezTo>
                  <a:pt x="158" y="762"/>
                  <a:pt x="177" y="744"/>
                  <a:pt x="180" y="737"/>
                </a:cubicBezTo>
                <a:cubicBezTo>
                  <a:pt x="187" y="725"/>
                  <a:pt x="189" y="701"/>
                  <a:pt x="204" y="702"/>
                </a:cubicBezTo>
                <a:cubicBezTo>
                  <a:pt x="200" y="686"/>
                  <a:pt x="218" y="673"/>
                  <a:pt x="210" y="670"/>
                </a:cubicBezTo>
                <a:cubicBezTo>
                  <a:pt x="213" y="656"/>
                  <a:pt x="221" y="679"/>
                  <a:pt x="224" y="665"/>
                </a:cubicBezTo>
                <a:cubicBezTo>
                  <a:pt x="221" y="656"/>
                  <a:pt x="221" y="674"/>
                  <a:pt x="215" y="665"/>
                </a:cubicBezTo>
                <a:cubicBezTo>
                  <a:pt x="220" y="647"/>
                  <a:pt x="218" y="652"/>
                  <a:pt x="230" y="647"/>
                </a:cubicBezTo>
                <a:cubicBezTo>
                  <a:pt x="227" y="647"/>
                  <a:pt x="222" y="633"/>
                  <a:pt x="230" y="627"/>
                </a:cubicBezTo>
                <a:cubicBezTo>
                  <a:pt x="231" y="626"/>
                  <a:pt x="238" y="628"/>
                  <a:pt x="239" y="627"/>
                </a:cubicBezTo>
                <a:cubicBezTo>
                  <a:pt x="241" y="622"/>
                  <a:pt x="233" y="620"/>
                  <a:pt x="236" y="615"/>
                </a:cubicBezTo>
                <a:cubicBezTo>
                  <a:pt x="237" y="613"/>
                  <a:pt x="240" y="620"/>
                  <a:pt x="239" y="621"/>
                </a:cubicBezTo>
                <a:cubicBezTo>
                  <a:pt x="246" y="618"/>
                  <a:pt x="238" y="608"/>
                  <a:pt x="242" y="597"/>
                </a:cubicBezTo>
                <a:cubicBezTo>
                  <a:pt x="244" y="591"/>
                  <a:pt x="254" y="586"/>
                  <a:pt x="259" y="577"/>
                </a:cubicBezTo>
                <a:cubicBezTo>
                  <a:pt x="262" y="571"/>
                  <a:pt x="260" y="559"/>
                  <a:pt x="262" y="554"/>
                </a:cubicBezTo>
                <a:cubicBezTo>
                  <a:pt x="266" y="543"/>
                  <a:pt x="277" y="538"/>
                  <a:pt x="277" y="536"/>
                </a:cubicBezTo>
                <a:cubicBezTo>
                  <a:pt x="277" y="534"/>
                  <a:pt x="271" y="521"/>
                  <a:pt x="282" y="525"/>
                </a:cubicBezTo>
                <a:cubicBezTo>
                  <a:pt x="282" y="508"/>
                  <a:pt x="306" y="493"/>
                  <a:pt x="303" y="472"/>
                </a:cubicBezTo>
                <a:cubicBezTo>
                  <a:pt x="306" y="462"/>
                  <a:pt x="314" y="456"/>
                  <a:pt x="320" y="449"/>
                </a:cubicBezTo>
                <a:cubicBezTo>
                  <a:pt x="332" y="418"/>
                  <a:pt x="335" y="385"/>
                  <a:pt x="352" y="350"/>
                </a:cubicBezTo>
                <a:cubicBezTo>
                  <a:pt x="350" y="354"/>
                  <a:pt x="368" y="337"/>
                  <a:pt x="370" y="332"/>
                </a:cubicBezTo>
                <a:cubicBezTo>
                  <a:pt x="377" y="318"/>
                  <a:pt x="378" y="298"/>
                  <a:pt x="385" y="283"/>
                </a:cubicBezTo>
                <a:cubicBezTo>
                  <a:pt x="414" y="212"/>
                  <a:pt x="449" y="139"/>
                  <a:pt x="472" y="67"/>
                </a:cubicBezTo>
                <a:cubicBezTo>
                  <a:pt x="479" y="46"/>
                  <a:pt x="488" y="24"/>
                  <a:pt x="492" y="0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26" name="Freeform 25" descr="highlinghting the name of the Assess the champions tab document" title="black circle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9112297" y="5734183"/>
            <a:ext cx="1932855" cy="448871"/>
          </a:xfrm>
          <a:custGeom>
            <a:avLst/>
            <a:gdLst>
              <a:gd name="T0" fmla="*/ 274 w 326"/>
              <a:gd name="T1" fmla="*/ 34 h 180"/>
              <a:gd name="T2" fmla="*/ 209 w 326"/>
              <a:gd name="T3" fmla="*/ 11 h 180"/>
              <a:gd name="T4" fmla="*/ 63 w 326"/>
              <a:gd name="T5" fmla="*/ 43 h 180"/>
              <a:gd name="T6" fmla="*/ 18 w 326"/>
              <a:gd name="T7" fmla="*/ 101 h 180"/>
              <a:gd name="T8" fmla="*/ 39 w 326"/>
              <a:gd name="T9" fmla="*/ 145 h 180"/>
              <a:gd name="T10" fmla="*/ 97 w 326"/>
              <a:gd name="T11" fmla="*/ 158 h 180"/>
              <a:gd name="T12" fmla="*/ 246 w 326"/>
              <a:gd name="T13" fmla="*/ 144 h 180"/>
              <a:gd name="T14" fmla="*/ 294 w 326"/>
              <a:gd name="T15" fmla="*/ 118 h 180"/>
              <a:gd name="T16" fmla="*/ 291 w 326"/>
              <a:gd name="T17" fmla="*/ 71 h 180"/>
              <a:gd name="T18" fmla="*/ 227 w 326"/>
              <a:gd name="T19" fmla="*/ 48 h 180"/>
              <a:gd name="T20" fmla="*/ 208 w 326"/>
              <a:gd name="T21" fmla="*/ 42 h 180"/>
              <a:gd name="T22" fmla="*/ 202 w 326"/>
              <a:gd name="T23" fmla="*/ 32 h 180"/>
              <a:gd name="T24" fmla="*/ 213 w 326"/>
              <a:gd name="T25" fmla="*/ 26 h 180"/>
              <a:gd name="T26" fmla="*/ 283 w 326"/>
              <a:gd name="T27" fmla="*/ 50 h 180"/>
              <a:gd name="T28" fmla="*/ 311 w 326"/>
              <a:gd name="T29" fmla="*/ 71 h 180"/>
              <a:gd name="T30" fmla="*/ 317 w 326"/>
              <a:gd name="T31" fmla="*/ 115 h 180"/>
              <a:gd name="T32" fmla="*/ 276 w 326"/>
              <a:gd name="T33" fmla="*/ 152 h 180"/>
              <a:gd name="T34" fmla="*/ 194 w 326"/>
              <a:gd name="T35" fmla="*/ 174 h 180"/>
              <a:gd name="T36" fmla="*/ 54 w 326"/>
              <a:gd name="T37" fmla="*/ 165 h 180"/>
              <a:gd name="T38" fmla="*/ 29 w 326"/>
              <a:gd name="T39" fmla="*/ 154 h 180"/>
              <a:gd name="T40" fmla="*/ 5 w 326"/>
              <a:gd name="T41" fmla="*/ 100 h 180"/>
              <a:gd name="T42" fmla="*/ 49 w 326"/>
              <a:gd name="T43" fmla="*/ 38 h 180"/>
              <a:gd name="T44" fmla="*/ 149 w 326"/>
              <a:gd name="T45" fmla="*/ 4 h 180"/>
              <a:gd name="T46" fmla="*/ 242 w 326"/>
              <a:gd name="T47" fmla="*/ 10 h 180"/>
              <a:gd name="T48" fmla="*/ 274 w 326"/>
              <a:gd name="T49" fmla="*/ 34 h 18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</a:cxnLst>
            <a:rect l="0" t="0" r="r" b="b"/>
            <a:pathLst>
              <a:path w="326" h="180">
                <a:moveTo>
                  <a:pt x="274" y="34"/>
                </a:moveTo>
                <a:cubicBezTo>
                  <a:pt x="256" y="14"/>
                  <a:pt x="232" y="12"/>
                  <a:pt x="209" y="11"/>
                </a:cubicBezTo>
                <a:cubicBezTo>
                  <a:pt x="158" y="8"/>
                  <a:pt x="108" y="15"/>
                  <a:pt x="63" y="43"/>
                </a:cubicBezTo>
                <a:cubicBezTo>
                  <a:pt x="41" y="57"/>
                  <a:pt x="24" y="75"/>
                  <a:pt x="18" y="101"/>
                </a:cubicBezTo>
                <a:cubicBezTo>
                  <a:pt x="13" y="121"/>
                  <a:pt x="19" y="138"/>
                  <a:pt x="39" y="145"/>
                </a:cubicBezTo>
                <a:cubicBezTo>
                  <a:pt x="57" y="151"/>
                  <a:pt x="77" y="155"/>
                  <a:pt x="97" y="158"/>
                </a:cubicBezTo>
                <a:cubicBezTo>
                  <a:pt x="147" y="164"/>
                  <a:pt x="197" y="160"/>
                  <a:pt x="246" y="144"/>
                </a:cubicBezTo>
                <a:cubicBezTo>
                  <a:pt x="263" y="138"/>
                  <a:pt x="280" y="131"/>
                  <a:pt x="294" y="118"/>
                </a:cubicBezTo>
                <a:cubicBezTo>
                  <a:pt x="314" y="101"/>
                  <a:pt x="313" y="86"/>
                  <a:pt x="291" y="71"/>
                </a:cubicBezTo>
                <a:cubicBezTo>
                  <a:pt x="272" y="58"/>
                  <a:pt x="249" y="53"/>
                  <a:pt x="227" y="48"/>
                </a:cubicBezTo>
                <a:cubicBezTo>
                  <a:pt x="220" y="46"/>
                  <a:pt x="214" y="44"/>
                  <a:pt x="208" y="42"/>
                </a:cubicBezTo>
                <a:cubicBezTo>
                  <a:pt x="203" y="41"/>
                  <a:pt x="200" y="37"/>
                  <a:pt x="202" y="32"/>
                </a:cubicBezTo>
                <a:cubicBezTo>
                  <a:pt x="203" y="27"/>
                  <a:pt x="207" y="24"/>
                  <a:pt x="213" y="26"/>
                </a:cubicBezTo>
                <a:cubicBezTo>
                  <a:pt x="236" y="34"/>
                  <a:pt x="260" y="41"/>
                  <a:pt x="283" y="50"/>
                </a:cubicBezTo>
                <a:cubicBezTo>
                  <a:pt x="293" y="55"/>
                  <a:pt x="303" y="63"/>
                  <a:pt x="311" y="71"/>
                </a:cubicBezTo>
                <a:cubicBezTo>
                  <a:pt x="324" y="84"/>
                  <a:pt x="326" y="99"/>
                  <a:pt x="317" y="115"/>
                </a:cubicBezTo>
                <a:cubicBezTo>
                  <a:pt x="308" y="132"/>
                  <a:pt x="293" y="143"/>
                  <a:pt x="276" y="152"/>
                </a:cubicBezTo>
                <a:cubicBezTo>
                  <a:pt x="251" y="165"/>
                  <a:pt x="223" y="171"/>
                  <a:pt x="194" y="174"/>
                </a:cubicBezTo>
                <a:cubicBezTo>
                  <a:pt x="147" y="180"/>
                  <a:pt x="100" y="176"/>
                  <a:pt x="54" y="165"/>
                </a:cubicBezTo>
                <a:cubicBezTo>
                  <a:pt x="45" y="162"/>
                  <a:pt x="37" y="159"/>
                  <a:pt x="29" y="154"/>
                </a:cubicBezTo>
                <a:cubicBezTo>
                  <a:pt x="8" y="143"/>
                  <a:pt x="0" y="122"/>
                  <a:pt x="5" y="100"/>
                </a:cubicBezTo>
                <a:cubicBezTo>
                  <a:pt x="11" y="73"/>
                  <a:pt x="27" y="53"/>
                  <a:pt x="49" y="38"/>
                </a:cubicBezTo>
                <a:cubicBezTo>
                  <a:pt x="79" y="18"/>
                  <a:pt x="113" y="8"/>
                  <a:pt x="149" y="4"/>
                </a:cubicBezTo>
                <a:cubicBezTo>
                  <a:pt x="180" y="0"/>
                  <a:pt x="212" y="2"/>
                  <a:pt x="242" y="10"/>
                </a:cubicBezTo>
                <a:cubicBezTo>
                  <a:pt x="260" y="15"/>
                  <a:pt x="269" y="22"/>
                  <a:pt x="274" y="34"/>
                </a:cubicBezTo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graphicFrame>
        <p:nvGraphicFramePr>
          <p:cNvPr id="29" name="Table 28" title="white box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71143444"/>
              </p:ext>
            </p:extLst>
          </p:nvPr>
        </p:nvGraphicFramePr>
        <p:xfrm>
          <a:off x="1288691" y="3008449"/>
          <a:ext cx="5069349" cy="2187717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5069349"/>
              </a:tblGrid>
              <a:tr h="441241">
                <a:tc>
                  <a:txBody>
                    <a:bodyPr/>
                    <a:lstStyle/>
                    <a:p>
                      <a:pPr algn="l"/>
                      <a:r>
                        <a:rPr lang="en-US" b="1" dirty="0" smtClean="0">
                          <a:solidFill>
                            <a:schemeClr val="tx1"/>
                          </a:solidFill>
                        </a:rPr>
                        <a:t>In identifying impacted groups, keep in mind the following:</a:t>
                      </a:r>
                      <a:endParaRPr lang="en-CA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547637">
                <a:tc>
                  <a:txBody>
                    <a:bodyPr/>
                    <a:lstStyle/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CA" sz="1600" noProof="0" dirty="0" smtClean="0">
                          <a:solidFill>
                            <a:schemeClr val="tx1"/>
                          </a:solidFill>
                        </a:rPr>
                        <a:t>The size and complexity of your project</a:t>
                      </a:r>
                      <a:r>
                        <a:rPr lang="en-CA" sz="1600" baseline="0" noProof="0" dirty="0" smtClean="0">
                          <a:solidFill>
                            <a:schemeClr val="tx1"/>
                          </a:solidFill>
                        </a:rPr>
                        <a:t> will determine the impacted groups</a:t>
                      </a:r>
                    </a:p>
                    <a:p>
                      <a:pPr marL="285750" indent="-285750" algn="l">
                        <a:buFont typeface="Arial" panose="020B0604020202020204" pitchFamily="34" charset="0"/>
                        <a:buChar char="•"/>
                      </a:pPr>
                      <a:r>
                        <a:rPr lang="en-CA" sz="1600" baseline="0" noProof="0" dirty="0" smtClean="0">
                          <a:solidFill>
                            <a:schemeClr val="tx1"/>
                          </a:solidFill>
                        </a:rPr>
                        <a:t>Example: on large projects, you may list high level groups at the branch level, and for smaller projects you may list smaller groups at the directorate level </a:t>
                      </a:r>
                      <a:endParaRPr lang="en-CA" sz="1600" noProof="0" dirty="0" smtClean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20" name="Freeform 19" descr="LightBulb Icon"/>
          <p:cNvSpPr>
            <a:spLocks noEditPoints="1"/>
          </p:cNvSpPr>
          <p:nvPr/>
        </p:nvSpPr>
        <p:spPr bwMode="auto">
          <a:xfrm rot="21258215">
            <a:off x="2211904" y="5357768"/>
            <a:ext cx="571500" cy="855341"/>
          </a:xfrm>
          <a:custGeom>
            <a:avLst/>
            <a:gdLst>
              <a:gd name="T0" fmla="*/ 377 w 448"/>
              <a:gd name="T1" fmla="*/ 53 h 671"/>
              <a:gd name="T2" fmla="*/ 224 w 448"/>
              <a:gd name="T3" fmla="*/ 0 h 671"/>
              <a:gd name="T4" fmla="*/ 71 w 448"/>
              <a:gd name="T5" fmla="*/ 53 h 671"/>
              <a:gd name="T6" fmla="*/ 0 w 448"/>
              <a:gd name="T7" fmla="*/ 196 h 671"/>
              <a:gd name="T8" fmla="*/ 78 w 448"/>
              <a:gd name="T9" fmla="*/ 351 h 671"/>
              <a:gd name="T10" fmla="*/ 119 w 448"/>
              <a:gd name="T11" fmla="*/ 440 h 671"/>
              <a:gd name="T12" fmla="*/ 109 w 448"/>
              <a:gd name="T13" fmla="*/ 503 h 671"/>
              <a:gd name="T14" fmla="*/ 118 w 448"/>
              <a:gd name="T15" fmla="*/ 567 h 671"/>
              <a:gd name="T16" fmla="*/ 126 w 448"/>
              <a:gd name="T17" fmla="*/ 618 h 671"/>
              <a:gd name="T18" fmla="*/ 186 w 448"/>
              <a:gd name="T19" fmla="*/ 660 h 671"/>
              <a:gd name="T20" fmla="*/ 262 w 448"/>
              <a:gd name="T21" fmla="*/ 660 h 671"/>
              <a:gd name="T22" fmla="*/ 322 w 448"/>
              <a:gd name="T23" fmla="*/ 618 h 671"/>
              <a:gd name="T24" fmla="*/ 330 w 448"/>
              <a:gd name="T25" fmla="*/ 567 h 671"/>
              <a:gd name="T26" fmla="*/ 339 w 448"/>
              <a:gd name="T27" fmla="*/ 503 h 671"/>
              <a:gd name="T28" fmla="*/ 329 w 448"/>
              <a:gd name="T29" fmla="*/ 440 h 671"/>
              <a:gd name="T30" fmla="*/ 370 w 448"/>
              <a:gd name="T31" fmla="*/ 351 h 671"/>
              <a:gd name="T32" fmla="*/ 448 w 448"/>
              <a:gd name="T33" fmla="*/ 196 h 671"/>
              <a:gd name="T34" fmla="*/ 362 w 448"/>
              <a:gd name="T35" fmla="*/ 274 h 671"/>
              <a:gd name="T36" fmla="*/ 336 w 448"/>
              <a:gd name="T37" fmla="*/ 303 h 671"/>
              <a:gd name="T38" fmla="*/ 174 w 448"/>
              <a:gd name="T39" fmla="*/ 433 h 671"/>
              <a:gd name="T40" fmla="*/ 99 w 448"/>
              <a:gd name="T41" fmla="*/ 289 h 671"/>
              <a:gd name="T42" fmla="*/ 56 w 448"/>
              <a:gd name="T43" fmla="*/ 196 h 671"/>
              <a:gd name="T44" fmla="*/ 111 w 448"/>
              <a:gd name="T45" fmla="*/ 93 h 671"/>
              <a:gd name="T46" fmla="*/ 224 w 448"/>
              <a:gd name="T47" fmla="*/ 56 h 671"/>
              <a:gd name="T48" fmla="*/ 338 w 448"/>
              <a:gd name="T49" fmla="*/ 93 h 671"/>
              <a:gd name="T50" fmla="*/ 392 w 448"/>
              <a:gd name="T51" fmla="*/ 196 h 671"/>
              <a:gd name="T52" fmla="*/ 306 w 448"/>
              <a:gd name="T53" fmla="*/ 156 h 671"/>
              <a:gd name="T54" fmla="*/ 224 w 448"/>
              <a:gd name="T55" fmla="*/ 126 h 671"/>
              <a:gd name="T56" fmla="*/ 210 w 448"/>
              <a:gd name="T57" fmla="*/ 139 h 671"/>
              <a:gd name="T58" fmla="*/ 224 w 448"/>
              <a:gd name="T59" fmla="*/ 154 h 671"/>
              <a:gd name="T60" fmla="*/ 294 w 448"/>
              <a:gd name="T61" fmla="*/ 196 h 671"/>
              <a:gd name="T62" fmla="*/ 308 w 448"/>
              <a:gd name="T63" fmla="*/ 210 h 671"/>
              <a:gd name="T64" fmla="*/ 322 w 448"/>
              <a:gd name="T65" fmla="*/ 196 h 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</a:cxnLst>
            <a:rect l="0" t="0" r="r" b="b"/>
            <a:pathLst>
              <a:path w="448" h="671">
                <a:moveTo>
                  <a:pt x="429" y="115"/>
                </a:moveTo>
                <a:cubicBezTo>
                  <a:pt x="416" y="90"/>
                  <a:pt x="398" y="69"/>
                  <a:pt x="377" y="53"/>
                </a:cubicBezTo>
                <a:cubicBezTo>
                  <a:pt x="356" y="36"/>
                  <a:pt x="332" y="23"/>
                  <a:pt x="306" y="14"/>
                </a:cubicBezTo>
                <a:cubicBezTo>
                  <a:pt x="279" y="4"/>
                  <a:pt x="252" y="0"/>
                  <a:pt x="224" y="0"/>
                </a:cubicBezTo>
                <a:cubicBezTo>
                  <a:pt x="196" y="0"/>
                  <a:pt x="169" y="4"/>
                  <a:pt x="142" y="14"/>
                </a:cubicBezTo>
                <a:cubicBezTo>
                  <a:pt x="116" y="23"/>
                  <a:pt x="92" y="36"/>
                  <a:pt x="71" y="53"/>
                </a:cubicBezTo>
                <a:cubicBezTo>
                  <a:pt x="50" y="69"/>
                  <a:pt x="32" y="90"/>
                  <a:pt x="20" y="115"/>
                </a:cubicBezTo>
                <a:cubicBezTo>
                  <a:pt x="7" y="140"/>
                  <a:pt x="0" y="167"/>
                  <a:pt x="0" y="196"/>
                </a:cubicBezTo>
                <a:cubicBezTo>
                  <a:pt x="0" y="241"/>
                  <a:pt x="15" y="280"/>
                  <a:pt x="45" y="313"/>
                </a:cubicBezTo>
                <a:cubicBezTo>
                  <a:pt x="58" y="327"/>
                  <a:pt x="69" y="340"/>
                  <a:pt x="78" y="351"/>
                </a:cubicBezTo>
                <a:cubicBezTo>
                  <a:pt x="86" y="362"/>
                  <a:pt x="95" y="376"/>
                  <a:pt x="104" y="393"/>
                </a:cubicBezTo>
                <a:cubicBezTo>
                  <a:pt x="112" y="409"/>
                  <a:pt x="117" y="425"/>
                  <a:pt x="119" y="440"/>
                </a:cubicBezTo>
                <a:cubicBezTo>
                  <a:pt x="105" y="448"/>
                  <a:pt x="98" y="460"/>
                  <a:pt x="98" y="475"/>
                </a:cubicBezTo>
                <a:cubicBezTo>
                  <a:pt x="98" y="486"/>
                  <a:pt x="102" y="496"/>
                  <a:pt x="109" y="503"/>
                </a:cubicBezTo>
                <a:cubicBezTo>
                  <a:pt x="102" y="511"/>
                  <a:pt x="98" y="521"/>
                  <a:pt x="98" y="531"/>
                </a:cubicBezTo>
                <a:cubicBezTo>
                  <a:pt x="98" y="547"/>
                  <a:pt x="105" y="558"/>
                  <a:pt x="118" y="567"/>
                </a:cubicBezTo>
                <a:cubicBezTo>
                  <a:pt x="114" y="574"/>
                  <a:pt x="112" y="580"/>
                  <a:pt x="112" y="587"/>
                </a:cubicBezTo>
                <a:cubicBezTo>
                  <a:pt x="112" y="601"/>
                  <a:pt x="117" y="611"/>
                  <a:pt x="126" y="618"/>
                </a:cubicBezTo>
                <a:cubicBezTo>
                  <a:pt x="135" y="626"/>
                  <a:pt x="146" y="629"/>
                  <a:pt x="160" y="629"/>
                </a:cubicBezTo>
                <a:cubicBezTo>
                  <a:pt x="166" y="642"/>
                  <a:pt x="174" y="652"/>
                  <a:pt x="186" y="660"/>
                </a:cubicBezTo>
                <a:cubicBezTo>
                  <a:pt x="198" y="668"/>
                  <a:pt x="210" y="671"/>
                  <a:pt x="224" y="671"/>
                </a:cubicBezTo>
                <a:cubicBezTo>
                  <a:pt x="238" y="671"/>
                  <a:pt x="250" y="668"/>
                  <a:pt x="262" y="660"/>
                </a:cubicBezTo>
                <a:cubicBezTo>
                  <a:pt x="274" y="652"/>
                  <a:pt x="283" y="642"/>
                  <a:pt x="288" y="629"/>
                </a:cubicBezTo>
                <a:cubicBezTo>
                  <a:pt x="302" y="629"/>
                  <a:pt x="313" y="626"/>
                  <a:pt x="322" y="618"/>
                </a:cubicBezTo>
                <a:cubicBezTo>
                  <a:pt x="331" y="611"/>
                  <a:pt x="336" y="601"/>
                  <a:pt x="336" y="587"/>
                </a:cubicBezTo>
                <a:cubicBezTo>
                  <a:pt x="336" y="580"/>
                  <a:pt x="334" y="574"/>
                  <a:pt x="330" y="567"/>
                </a:cubicBezTo>
                <a:cubicBezTo>
                  <a:pt x="343" y="558"/>
                  <a:pt x="350" y="547"/>
                  <a:pt x="350" y="531"/>
                </a:cubicBezTo>
                <a:cubicBezTo>
                  <a:pt x="350" y="521"/>
                  <a:pt x="346" y="511"/>
                  <a:pt x="339" y="503"/>
                </a:cubicBezTo>
                <a:cubicBezTo>
                  <a:pt x="346" y="496"/>
                  <a:pt x="350" y="486"/>
                  <a:pt x="350" y="475"/>
                </a:cubicBezTo>
                <a:cubicBezTo>
                  <a:pt x="350" y="460"/>
                  <a:pt x="343" y="448"/>
                  <a:pt x="329" y="440"/>
                </a:cubicBezTo>
                <a:cubicBezTo>
                  <a:pt x="331" y="425"/>
                  <a:pt x="336" y="409"/>
                  <a:pt x="344" y="393"/>
                </a:cubicBezTo>
                <a:cubicBezTo>
                  <a:pt x="353" y="376"/>
                  <a:pt x="362" y="362"/>
                  <a:pt x="370" y="351"/>
                </a:cubicBezTo>
                <a:cubicBezTo>
                  <a:pt x="379" y="340"/>
                  <a:pt x="390" y="327"/>
                  <a:pt x="403" y="313"/>
                </a:cubicBezTo>
                <a:cubicBezTo>
                  <a:pt x="433" y="280"/>
                  <a:pt x="448" y="241"/>
                  <a:pt x="448" y="196"/>
                </a:cubicBezTo>
                <a:cubicBezTo>
                  <a:pt x="448" y="167"/>
                  <a:pt x="442" y="140"/>
                  <a:pt x="429" y="115"/>
                </a:cubicBezTo>
                <a:close/>
                <a:moveTo>
                  <a:pt x="362" y="274"/>
                </a:moveTo>
                <a:cubicBezTo>
                  <a:pt x="359" y="278"/>
                  <a:pt x="355" y="282"/>
                  <a:pt x="349" y="289"/>
                </a:cubicBezTo>
                <a:cubicBezTo>
                  <a:pt x="343" y="295"/>
                  <a:pt x="338" y="300"/>
                  <a:pt x="336" y="303"/>
                </a:cubicBezTo>
                <a:cubicBezTo>
                  <a:pt x="298" y="348"/>
                  <a:pt x="278" y="391"/>
                  <a:pt x="274" y="433"/>
                </a:cubicBezTo>
                <a:cubicBezTo>
                  <a:pt x="174" y="433"/>
                  <a:pt x="174" y="433"/>
                  <a:pt x="174" y="433"/>
                </a:cubicBezTo>
                <a:cubicBezTo>
                  <a:pt x="170" y="391"/>
                  <a:pt x="150" y="348"/>
                  <a:pt x="112" y="303"/>
                </a:cubicBezTo>
                <a:cubicBezTo>
                  <a:pt x="110" y="300"/>
                  <a:pt x="105" y="295"/>
                  <a:pt x="99" y="289"/>
                </a:cubicBezTo>
                <a:cubicBezTo>
                  <a:pt x="93" y="282"/>
                  <a:pt x="89" y="278"/>
                  <a:pt x="86" y="274"/>
                </a:cubicBezTo>
                <a:cubicBezTo>
                  <a:pt x="66" y="251"/>
                  <a:pt x="56" y="225"/>
                  <a:pt x="56" y="196"/>
                </a:cubicBezTo>
                <a:cubicBezTo>
                  <a:pt x="56" y="175"/>
                  <a:pt x="61" y="155"/>
                  <a:pt x="71" y="137"/>
                </a:cubicBezTo>
                <a:cubicBezTo>
                  <a:pt x="81" y="119"/>
                  <a:pt x="94" y="104"/>
                  <a:pt x="111" y="93"/>
                </a:cubicBezTo>
                <a:cubicBezTo>
                  <a:pt x="127" y="81"/>
                  <a:pt x="145" y="72"/>
                  <a:pt x="164" y="65"/>
                </a:cubicBezTo>
                <a:cubicBezTo>
                  <a:pt x="184" y="59"/>
                  <a:pt x="204" y="56"/>
                  <a:pt x="224" y="56"/>
                </a:cubicBezTo>
                <a:cubicBezTo>
                  <a:pt x="244" y="56"/>
                  <a:pt x="264" y="59"/>
                  <a:pt x="284" y="65"/>
                </a:cubicBezTo>
                <a:cubicBezTo>
                  <a:pt x="303" y="72"/>
                  <a:pt x="321" y="81"/>
                  <a:pt x="338" y="93"/>
                </a:cubicBezTo>
                <a:cubicBezTo>
                  <a:pt x="354" y="104"/>
                  <a:pt x="367" y="119"/>
                  <a:pt x="377" y="137"/>
                </a:cubicBezTo>
                <a:cubicBezTo>
                  <a:pt x="387" y="155"/>
                  <a:pt x="392" y="175"/>
                  <a:pt x="392" y="196"/>
                </a:cubicBezTo>
                <a:cubicBezTo>
                  <a:pt x="392" y="225"/>
                  <a:pt x="382" y="251"/>
                  <a:pt x="362" y="274"/>
                </a:cubicBezTo>
                <a:close/>
                <a:moveTo>
                  <a:pt x="306" y="156"/>
                </a:moveTo>
                <a:cubicBezTo>
                  <a:pt x="295" y="145"/>
                  <a:pt x="282" y="137"/>
                  <a:pt x="268" y="133"/>
                </a:cubicBezTo>
                <a:cubicBezTo>
                  <a:pt x="253" y="128"/>
                  <a:pt x="239" y="126"/>
                  <a:pt x="224" y="126"/>
                </a:cubicBezTo>
                <a:cubicBezTo>
                  <a:pt x="214" y="130"/>
                  <a:pt x="214" y="130"/>
                  <a:pt x="214" y="130"/>
                </a:cubicBezTo>
                <a:cubicBezTo>
                  <a:pt x="210" y="139"/>
                  <a:pt x="210" y="139"/>
                  <a:pt x="210" y="139"/>
                </a:cubicBezTo>
                <a:cubicBezTo>
                  <a:pt x="214" y="149"/>
                  <a:pt x="214" y="149"/>
                  <a:pt x="214" y="149"/>
                </a:cubicBezTo>
                <a:cubicBezTo>
                  <a:pt x="224" y="154"/>
                  <a:pt x="224" y="154"/>
                  <a:pt x="224" y="154"/>
                </a:cubicBezTo>
                <a:cubicBezTo>
                  <a:pt x="239" y="154"/>
                  <a:pt x="255" y="157"/>
                  <a:pt x="270" y="164"/>
                </a:cubicBezTo>
                <a:cubicBezTo>
                  <a:pt x="286" y="172"/>
                  <a:pt x="294" y="182"/>
                  <a:pt x="294" y="196"/>
                </a:cubicBezTo>
                <a:cubicBezTo>
                  <a:pt x="298" y="205"/>
                  <a:pt x="298" y="205"/>
                  <a:pt x="298" y="205"/>
                </a:cubicBezTo>
                <a:cubicBezTo>
                  <a:pt x="308" y="210"/>
                  <a:pt x="308" y="210"/>
                  <a:pt x="308" y="210"/>
                </a:cubicBezTo>
                <a:cubicBezTo>
                  <a:pt x="318" y="205"/>
                  <a:pt x="318" y="205"/>
                  <a:pt x="318" y="205"/>
                </a:cubicBezTo>
                <a:cubicBezTo>
                  <a:pt x="322" y="196"/>
                  <a:pt x="322" y="196"/>
                  <a:pt x="322" y="196"/>
                </a:cubicBezTo>
                <a:cubicBezTo>
                  <a:pt x="322" y="180"/>
                  <a:pt x="317" y="167"/>
                  <a:pt x="306" y="156"/>
                </a:cubicBezTo>
                <a:close/>
              </a:path>
            </a:pathLst>
          </a:custGeom>
          <a:solidFill>
            <a:srgbClr val="999999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CA" dirty="0"/>
          </a:p>
        </p:txBody>
      </p:sp>
      <p:sp>
        <p:nvSpPr>
          <p:cNvPr id="21" name="Rectangle 20"/>
          <p:cNvSpPr/>
          <p:nvPr/>
        </p:nvSpPr>
        <p:spPr>
          <a:xfrm>
            <a:off x="2534075" y="5416106"/>
            <a:ext cx="3257289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Aft>
                <a:spcPts val="800"/>
              </a:spcAft>
              <a:tabLst>
                <a:tab pos="457200" algn="l"/>
                <a:tab pos="589280" algn="l"/>
              </a:tabLst>
            </a:pP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Use information 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gathered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during the </a:t>
            </a:r>
            <a:r>
              <a:rPr lang="en-CA" sz="1400" b="1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  <a:hlinkClick r:id="rId6"/>
              </a:rPr>
              <a:t>stakeholder mapping</a:t>
            </a:r>
            <a:r>
              <a:rPr lang="en-CA" sz="1400" i="1" dirty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  <a:hlinkClick r:id="rId6"/>
              </a:rPr>
              <a:t> 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(in the Strategize phase of the </a:t>
            </a:r>
            <a:r>
              <a:rPr lang="en-CA" sz="1400" b="1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  <a:hlinkClick r:id="rId7"/>
              </a:rPr>
              <a:t>WCM playbook</a:t>
            </a:r>
            <a:r>
              <a:rPr lang="en-CA" sz="1400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r>
              <a:rPr lang="en-CA" sz="1400" b="1" i="1" dirty="0" smtClean="0">
                <a:solidFill>
                  <a:schemeClr val="tx2"/>
                </a:solidFill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endParaRPr lang="en-CA" sz="1400" i="1" dirty="0">
              <a:solidFill>
                <a:schemeClr val="tx2"/>
              </a:solidFill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8309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NGAGE" val="{&quot;SavedSwatch&quot;:&quot;-11204859|-12935257|-1159117|-545747|-8684677|Auburn&quot;,&quot;Id&quot;:&quot;605b3cc34546380f9489f0b4&quot;,&quot;SmartGridHorizontal&quot;:0,&quot;LinkedExcelSources&quot;:{},&quot;LinkedProjectSources&quot;:{},&quot;FlowConfig&quot;:{&quot;Canvas&quot;:{&quot;Slide&quot;:-1,&quot;Width&quot;:0,&quot;Height&quot;:0},&quot;Timeline&quot;:{&quot;Actions&quot;:[]}},&quot;LinkedSlideMergeSources&quot;:{},&quot;LinkedSharePointSlideMergeSources&quot;:{}}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COLOR" val="{&quot;FillColor&quot;:{&quot;ColorIndex&quot;:2,&quot;ColorModifier&quot;:0,&quot;BrightnessModifier&quot;:0}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COLOR" val="{&quot;FillColor&quot;:{&quot;ColorIndex&quot;:2,&quot;ColorModifier&quot;:0,&quot;BrightnessModifier&quot;:0}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COLOR" val="{&quot;FillColor&quot;:{&quot;ColorIndex&quot;:2,&quot;ColorModifier&quot;:0,&quot;BrightnessModifier&quot;:0}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COLOR" val="{&quot;FillColor&quot;:{&quot;ColorIndex&quot;:2,&quot;ColorModifier&quot;:0,&quot;BrightnessModifier&quot;:0}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COLOR" val="{&quot;FillColor&quot;:{&quot;ColorIndex&quot;:2,&quot;ColorModifier&quot;:0,&quot;BrightnessModifier&quot;:0}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COLOR" val="{&quot;FillColor&quot;:{&quot;ColorIndex&quot;:2,&quot;ColorModifier&quot;:0,&quot;BrightnessModifier&quot;:0}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NGAGECOLOR" val="{&quot;FillColor&quot;:{&quot;ColorIndex&quot;:2,&quot;ColorModifier&quot;:0,&quot;BrightnessModifier&quot;:0}}"/>
</p:tagLst>
</file>

<file path=ppt/theme/theme1.xml><?xml version="1.0" encoding="utf-8"?>
<a:theme xmlns:a="http://schemas.openxmlformats.org/drawingml/2006/main" name="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2043</TotalTime>
  <Words>1687</Words>
  <Application>Microsoft Office PowerPoint</Application>
  <PresentationFormat>Widescreen</PresentationFormat>
  <Paragraphs>205</Paragraphs>
  <Slides>17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23" baseType="lpstr">
      <vt:lpstr>Arial</vt:lpstr>
      <vt:lpstr>Calibri</vt:lpstr>
      <vt:lpstr>Georgia</vt:lpstr>
      <vt:lpstr>Wingdings</vt:lpstr>
      <vt:lpstr>Office Theme</vt:lpstr>
      <vt:lpstr>think-cell Slide</vt:lpstr>
      <vt:lpstr>Guide to assessing the sponsor and champions</vt:lpstr>
      <vt:lpstr>About this guide</vt:lpstr>
      <vt:lpstr>Overview: Sponsorship tools and documents</vt:lpstr>
      <vt:lpstr>About the sponsor and champions</vt:lpstr>
      <vt:lpstr>Steps to assessing the sponsor and champions</vt:lpstr>
      <vt:lpstr>Identify… the sponsor</vt:lpstr>
      <vt:lpstr>Determine the position of… the sponsor</vt:lpstr>
      <vt:lpstr>Assess the CM competencies of… the sponsor</vt:lpstr>
      <vt:lpstr>Identify… all impacted groups</vt:lpstr>
      <vt:lpstr>Identify… the champions</vt:lpstr>
      <vt:lpstr>Determine the position of… the champions</vt:lpstr>
      <vt:lpstr>Assess the CM competencies of… the champions</vt:lpstr>
      <vt:lpstr>Analyze… the results of the assessment (1)</vt:lpstr>
      <vt:lpstr>Analyze… the results of the assessment (2)</vt:lpstr>
      <vt:lpstr>Example of Sponsorship diagram</vt:lpstr>
      <vt:lpstr>Example of Sponsorship diagram</vt:lpstr>
      <vt:lpstr>Next steps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obert Tu</dc:creator>
  <cp:lastModifiedBy>Alexandrine Menard</cp:lastModifiedBy>
  <cp:revision>754</cp:revision>
  <cp:lastPrinted>2020-02-17T19:28:49Z</cp:lastPrinted>
  <dcterms:created xsi:type="dcterms:W3CDTF">2018-01-23T15:59:12Z</dcterms:created>
  <dcterms:modified xsi:type="dcterms:W3CDTF">2021-03-24T13:21:07Z</dcterms:modified>
</cp:coreProperties>
</file>